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9" r:id="rId2"/>
  </p:sldMasterIdLst>
  <p:notesMasterIdLst>
    <p:notesMasterId r:id="rId7"/>
  </p:notesMasterIdLst>
  <p:sldIdLst>
    <p:sldId id="257" r:id="rId3"/>
    <p:sldId id="543" r:id="rId4"/>
    <p:sldId id="491" r:id="rId5"/>
    <p:sldId id="536" r:id="rId6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C7D8C1-6B00-4C33-9016-353EA8414779}">
          <p14:sldIdLst>
            <p14:sldId id="257"/>
          </p14:sldIdLst>
        </p14:section>
        <p14:section name="IV.Techinical Webinars" id="{F344C1AF-FC78-419A-ABEB-634FBC82B2E7}">
          <p14:sldIdLst>
            <p14:sldId id="543"/>
            <p14:sldId id="491"/>
            <p14:sldId id="53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scimento, Marisa Faria" initials="NMF" lastIdx="2" clrIdx="0">
    <p:extLst>
      <p:ext uri="{19B8F6BF-5375-455C-9EA6-DF929625EA0E}">
        <p15:presenceInfo xmlns:p15="http://schemas.microsoft.com/office/powerpoint/2012/main" userId="S::marisnascimento@deloitte.pt::aec2cbf6-7a62-49ad-a728-5c30a944f1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27F77"/>
    <a:srgbClr val="B1B1B1"/>
    <a:srgbClr val="388E5A"/>
    <a:srgbClr val="E4E4E4"/>
    <a:srgbClr val="F3FCFF"/>
    <a:srgbClr val="F5FAFD"/>
    <a:srgbClr val="A6A6A6"/>
    <a:srgbClr val="80BA17"/>
    <a:srgbClr val="3EB4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85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openxmlformats.org/officeDocument/2006/relationships/customXml" Target="../customXml/item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8ED72A-B059-475B-82B9-BBBB5904FAD2}" type="datetimeFigureOut">
              <a:rPr lang="pt-PT" smtClean="0"/>
              <a:t>30-03-2022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0E2F30-543E-41F1-919E-B9BEC033AD41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159366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Google Shape;854;p1:notes"/>
          <p:cNvSpPr txBox="1">
            <a:spLocks noGrp="1"/>
          </p:cNvSpPr>
          <p:nvPr>
            <p:ph type="body" idx="1"/>
          </p:nvPr>
        </p:nvSpPr>
        <p:spPr>
          <a:xfrm>
            <a:off x="2010400" y="5371925"/>
            <a:ext cx="16083301" cy="50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55" name="Google Shape;85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283325" y="847725"/>
            <a:ext cx="7539038" cy="42418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315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308E73-0659-4270-940E-3AC02DAF9A39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06314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hilosophy cream">
  <p:cSld name="philosophy cream">
    <p:bg>
      <p:bgPr>
        <a:solidFill>
          <a:srgbClr val="F6EAE0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59"/>
          <p:cNvPicPr preferRelativeResize="0"/>
          <p:nvPr/>
        </p:nvPicPr>
        <p:blipFill rotWithShape="1">
          <a:blip r:embed="rId2">
            <a:alphaModFix/>
          </a:blip>
          <a:srcRect l="21684" t="32946" b="-9265"/>
          <a:stretch/>
        </p:blipFill>
        <p:spPr>
          <a:xfrm rot="5400000" flipH="1">
            <a:off x="8315806" y="3031865"/>
            <a:ext cx="5469145" cy="2283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6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4212" y="3442477"/>
            <a:ext cx="3670560" cy="34155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2730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contents slide">
  <p:cSld name="Table contents slide">
    <p:bg>
      <p:bgPr>
        <a:solidFill>
          <a:srgbClr val="F6EAE0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oogle Shape;85;p34"/>
          <p:cNvPicPr preferRelativeResize="0"/>
          <p:nvPr/>
        </p:nvPicPr>
        <p:blipFill rotWithShape="1">
          <a:blip r:embed="rId2">
            <a:alphaModFix/>
          </a:blip>
          <a:srcRect l="5399" t="5338" r="19491"/>
          <a:stretch/>
        </p:blipFill>
        <p:spPr>
          <a:xfrm rot="5400000">
            <a:off x="6875440" y="1583797"/>
            <a:ext cx="6884953" cy="3717361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34"/>
          <p:cNvSpPr txBox="1">
            <a:spLocks noGrp="1"/>
          </p:cNvSpPr>
          <p:nvPr>
            <p:ph type="title"/>
          </p:nvPr>
        </p:nvSpPr>
        <p:spPr>
          <a:xfrm>
            <a:off x="960500" y="1565363"/>
            <a:ext cx="10723315" cy="923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9900"/>
              <a:buNone/>
              <a:defRPr sz="60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34"/>
          <p:cNvSpPr/>
          <p:nvPr/>
        </p:nvSpPr>
        <p:spPr>
          <a:xfrm>
            <a:off x="947114" y="684612"/>
            <a:ext cx="1740917" cy="42314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5922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slide white">
  <p:cSld name="Diagram slide white">
    <p:bg>
      <p:bgPr>
        <a:solidFill>
          <a:schemeClr val="lt1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35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0" name="Google Shape;90;p35"/>
          <p:cNvPicPr preferRelativeResize="0"/>
          <p:nvPr/>
        </p:nvPicPr>
        <p:blipFill rotWithShape="1">
          <a:blip r:embed="rId2">
            <a:alphaModFix/>
          </a:blip>
          <a:srcRect t="5750" b="45552"/>
          <a:stretch/>
        </p:blipFill>
        <p:spPr>
          <a:xfrm>
            <a:off x="5951561" y="4395315"/>
            <a:ext cx="5851209" cy="2462685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3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35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99905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dark slide">
  <p:cSld name="Diagram dark slide">
    <p:bg>
      <p:bgPr>
        <a:solidFill>
          <a:srgbClr val="212121"/>
        </a:solid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6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5" name="Google Shape;95;p36"/>
          <p:cNvPicPr preferRelativeResize="0"/>
          <p:nvPr/>
        </p:nvPicPr>
        <p:blipFill rotWithShape="1">
          <a:blip r:embed="rId2">
            <a:alphaModFix/>
          </a:blip>
          <a:srcRect t="34734" r="2151" b="32250"/>
          <a:stretch/>
        </p:blipFill>
        <p:spPr>
          <a:xfrm>
            <a:off x="6466841" y="4593851"/>
            <a:ext cx="5725160" cy="2264149"/>
          </a:xfrm>
          <a:prstGeom prst="rect">
            <a:avLst/>
          </a:prstGeom>
          <a:noFill/>
          <a:ln>
            <a:noFill/>
          </a:ln>
        </p:spPr>
      </p:pic>
      <p:pic>
        <p:nvPicPr>
          <p:cNvPr id="96" name="Google Shape;96;p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36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7929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dark slide">
  <p:cSld name="Diagram pointer dark slide">
    <p:bg>
      <p:bgPr>
        <a:solidFill>
          <a:srgbClr val="212121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37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0" name="Google Shape;100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" name="Google Shape;101;p37"/>
          <p:cNvPicPr preferRelativeResize="0"/>
          <p:nvPr/>
        </p:nvPicPr>
        <p:blipFill rotWithShape="1">
          <a:blip r:embed="rId3">
            <a:alphaModFix/>
          </a:blip>
          <a:srcRect l="-1372" t="9537" r="36335" b="54662"/>
          <a:stretch/>
        </p:blipFill>
        <p:spPr>
          <a:xfrm>
            <a:off x="6737345" y="4324731"/>
            <a:ext cx="5485783" cy="2533392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37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77827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white slide">
  <p:cSld name="Diagram pointer white slide">
    <p:bg>
      <p:bgPr>
        <a:solidFill>
          <a:schemeClr val="lt1"/>
        </a:solidFill>
        <a:effectLst/>
      </p:bgPr>
    </p:bg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8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38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●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○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600"/>
              <a:buFont typeface="Roboto Light"/>
              <a:buChar char="■"/>
              <a:defRPr sz="2183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7522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gram pointer outline dark slide">
  <p:cSld name="Diagram pointer outline dark slide">
    <p:bg>
      <p:bgPr>
        <a:solidFill>
          <a:srgbClr val="212121"/>
        </a:solidFill>
        <a:effectLst/>
      </p:bgPr>
    </p:bg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39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9" name="Google Shape;109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Google Shape;110;p39"/>
          <p:cNvPicPr preferRelativeResize="0"/>
          <p:nvPr/>
        </p:nvPicPr>
        <p:blipFill rotWithShape="1">
          <a:blip r:embed="rId3">
            <a:alphaModFix/>
          </a:blip>
          <a:srcRect t="34734" r="2151" b="32250"/>
          <a:stretch/>
        </p:blipFill>
        <p:spPr>
          <a:xfrm>
            <a:off x="6466841" y="4593851"/>
            <a:ext cx="5725160" cy="2264149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39"/>
          <p:cNvSpPr txBox="1">
            <a:spLocks noGrp="1"/>
          </p:cNvSpPr>
          <p:nvPr>
            <p:ph type="body" idx="1"/>
          </p:nvPr>
        </p:nvSpPr>
        <p:spPr>
          <a:xfrm>
            <a:off x="6199916" y="2117144"/>
            <a:ext cx="5207105" cy="20516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●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○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60958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Roboto Light"/>
              <a:buChar char="■"/>
              <a:defRPr sz="2183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78440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background">
  <p:cSld name="Dark background">
    <p:bg>
      <p:bgPr>
        <a:solidFill>
          <a:srgbClr val="212121"/>
        </a:solidFill>
        <a:effectLst/>
      </p:bgPr>
    </p:bg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Google Shape;11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7966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dient background">
  <p:cSld name="Blue gradient background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700006" scaled="0"/>
        </a:gradFill>
        <a:effectLst/>
      </p:bgPr>
    </p:bg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41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6" name="Google Shape;116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09826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background">
  <p:cSld name="Green gradient background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4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9" name="Google Shape;119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46731" y="605007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7249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gine white slide" type="tx">
  <p:cSld name="Engine white slide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43"/>
          <p:cNvSpPr/>
          <p:nvPr/>
        </p:nvSpPr>
        <p:spPr>
          <a:xfrm>
            <a:off x="16664" y="2658973"/>
            <a:ext cx="21517" cy="3441"/>
          </a:xfrm>
          <a:custGeom>
            <a:avLst/>
            <a:gdLst/>
            <a:ahLst/>
            <a:cxnLst/>
            <a:rect l="l" t="t" r="r" b="b"/>
            <a:pathLst>
              <a:path w="31750" h="5079" extrusionOk="0">
                <a:moveTo>
                  <a:pt x="31307" y="0"/>
                </a:moveTo>
                <a:lnTo>
                  <a:pt x="0" y="2533"/>
                </a:lnTo>
                <a:lnTo>
                  <a:pt x="31328" y="4816"/>
                </a:lnTo>
              </a:path>
            </a:pathLst>
          </a:custGeom>
          <a:noFill/>
          <a:ln w="9525" cap="flat" cmpd="sng">
            <a:solidFill>
              <a:srgbClr val="662C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19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Google Shape;122;p43"/>
          <p:cNvSpPr/>
          <p:nvPr/>
        </p:nvSpPr>
        <p:spPr>
          <a:xfrm>
            <a:off x="12171737" y="2603757"/>
            <a:ext cx="19719" cy="20216"/>
          </a:xfrm>
          <a:custGeom>
            <a:avLst/>
            <a:gdLst/>
            <a:ahLst/>
            <a:cxnLst/>
            <a:rect l="l" t="t" r="r" b="b"/>
            <a:pathLst>
              <a:path w="31115" h="31750" extrusionOk="0">
                <a:moveTo>
                  <a:pt x="0" y="26983"/>
                </a:moveTo>
                <a:lnTo>
                  <a:pt x="31109" y="31412"/>
                </a:lnTo>
                <a:lnTo>
                  <a:pt x="31109" y="0"/>
                </a:lnTo>
              </a:path>
            </a:pathLst>
          </a:custGeom>
          <a:noFill/>
          <a:ln w="9525" cap="flat" cmpd="sng">
            <a:solidFill>
              <a:srgbClr val="662C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19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4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4" name="Google Shape;124;p43"/>
          <p:cNvPicPr preferRelativeResize="0"/>
          <p:nvPr/>
        </p:nvPicPr>
        <p:blipFill rotWithShape="1">
          <a:blip r:embed="rId3">
            <a:alphaModFix/>
          </a:blip>
          <a:srcRect t="5750" b="45552"/>
          <a:stretch/>
        </p:blipFill>
        <p:spPr>
          <a:xfrm>
            <a:off x="6340792" y="4395315"/>
            <a:ext cx="5851209" cy="2462685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43"/>
          <p:cNvSpPr txBox="1">
            <a:spLocks noGrp="1"/>
          </p:cNvSpPr>
          <p:nvPr>
            <p:ph type="title"/>
          </p:nvPr>
        </p:nvSpPr>
        <p:spPr>
          <a:xfrm>
            <a:off x="430060" y="1047678"/>
            <a:ext cx="3679413" cy="1959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43"/>
          <p:cNvSpPr txBox="1">
            <a:spLocks noGrp="1"/>
          </p:cNvSpPr>
          <p:nvPr>
            <p:ph type="body" idx="1"/>
          </p:nvPr>
        </p:nvSpPr>
        <p:spPr>
          <a:xfrm>
            <a:off x="525636" y="3194551"/>
            <a:ext cx="3153809" cy="2327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609585" lvl="0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●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○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Light"/>
              <a:buChar char="■"/>
              <a:defRPr sz="1456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6364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est-for-Purpose partners v2">
  <p:cSld name="Best-for-Purpose partners v2">
    <p:bg>
      <p:bgPr>
        <a:solidFill>
          <a:schemeClr val="lt1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7"/>
          <p:cNvSpPr txBox="1">
            <a:spLocks noGrp="1"/>
          </p:cNvSpPr>
          <p:nvPr>
            <p:ph type="subTitle" idx="1"/>
          </p:nvPr>
        </p:nvSpPr>
        <p:spPr>
          <a:xfrm>
            <a:off x="554533" y="3146356"/>
            <a:ext cx="4039641" cy="2128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2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None/>
              <a:defRPr sz="1819">
                <a:solidFill>
                  <a:srgbClr val="212121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3817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gine dark slide">
  <p:cSld name="Engine dark slide">
    <p:bg>
      <p:bgPr>
        <a:solidFill>
          <a:srgbClr val="212121"/>
        </a:solidFill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Google Shape;128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129" name="Google Shape;129;p44"/>
          <p:cNvSpPr txBox="1">
            <a:spLocks noGrp="1"/>
          </p:cNvSpPr>
          <p:nvPr>
            <p:ph type="body" idx="1"/>
          </p:nvPr>
        </p:nvSpPr>
        <p:spPr>
          <a:xfrm>
            <a:off x="525636" y="3194551"/>
            <a:ext cx="3153809" cy="2327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609585" lvl="0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●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○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0798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Light"/>
              <a:buChar char="■"/>
              <a:defRPr sz="1456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472622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re principels slide" type="twoColTx">
  <p:cSld name="Core principels slide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Google Shape;131;p45"/>
          <p:cNvPicPr preferRelativeResize="0"/>
          <p:nvPr/>
        </p:nvPicPr>
        <p:blipFill rotWithShape="1">
          <a:blip r:embed="rId2">
            <a:alphaModFix/>
          </a:blip>
          <a:srcRect l="374" t="708" r="42891" b="442"/>
          <a:stretch/>
        </p:blipFill>
        <p:spPr>
          <a:xfrm rot="10800000" flipH="1">
            <a:off x="9253752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Google Shape;132;p4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45"/>
          <p:cNvSpPr txBox="1">
            <a:spLocks noGrp="1"/>
          </p:cNvSpPr>
          <p:nvPr>
            <p:ph type="subTitle" idx="1"/>
          </p:nvPr>
        </p:nvSpPr>
        <p:spPr>
          <a:xfrm>
            <a:off x="656641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4" name="Google Shape;134;p45"/>
          <p:cNvSpPr txBox="1">
            <a:spLocks noGrp="1"/>
          </p:cNvSpPr>
          <p:nvPr>
            <p:ph type="body" idx="2"/>
          </p:nvPr>
        </p:nvSpPr>
        <p:spPr>
          <a:xfrm>
            <a:off x="656642" y="4894202"/>
            <a:ext cx="2651492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5" name="Google Shape;135;p45"/>
          <p:cNvSpPr txBox="1">
            <a:spLocks noGrp="1"/>
          </p:cNvSpPr>
          <p:nvPr>
            <p:ph type="subTitle" idx="3"/>
          </p:nvPr>
        </p:nvSpPr>
        <p:spPr>
          <a:xfrm>
            <a:off x="3940412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6" name="Google Shape;136;p45"/>
          <p:cNvSpPr txBox="1">
            <a:spLocks noGrp="1"/>
          </p:cNvSpPr>
          <p:nvPr>
            <p:ph type="body" idx="4"/>
          </p:nvPr>
        </p:nvSpPr>
        <p:spPr>
          <a:xfrm>
            <a:off x="3940412" y="4894202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7" name="Google Shape;137;p45"/>
          <p:cNvSpPr txBox="1">
            <a:spLocks noGrp="1"/>
          </p:cNvSpPr>
          <p:nvPr>
            <p:ph type="subTitle" idx="5"/>
          </p:nvPr>
        </p:nvSpPr>
        <p:spPr>
          <a:xfrm>
            <a:off x="7954643" y="449847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38" name="Google Shape;138;p45"/>
          <p:cNvSpPr txBox="1">
            <a:spLocks noGrp="1"/>
          </p:cNvSpPr>
          <p:nvPr>
            <p:ph type="body" idx="6"/>
          </p:nvPr>
        </p:nvSpPr>
        <p:spPr>
          <a:xfrm>
            <a:off x="7954643" y="4894202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39" name="Google Shape;139;p45"/>
          <p:cNvSpPr txBox="1">
            <a:spLocks noGrp="1"/>
          </p:cNvSpPr>
          <p:nvPr>
            <p:ph type="subTitle" idx="7"/>
          </p:nvPr>
        </p:nvSpPr>
        <p:spPr>
          <a:xfrm>
            <a:off x="7954643" y="1928249"/>
            <a:ext cx="2858896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0" name="Google Shape;140;p45"/>
          <p:cNvSpPr txBox="1">
            <a:spLocks noGrp="1"/>
          </p:cNvSpPr>
          <p:nvPr>
            <p:ph type="body" idx="8"/>
          </p:nvPr>
        </p:nvSpPr>
        <p:spPr>
          <a:xfrm>
            <a:off x="7954643" y="2323971"/>
            <a:ext cx="3589357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7750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exible and agile white">
  <p:cSld name="Flexible and agile white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46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46"/>
          <p:cNvSpPr txBox="1">
            <a:spLocks noGrp="1"/>
          </p:cNvSpPr>
          <p:nvPr>
            <p:ph type="title"/>
          </p:nvPr>
        </p:nvSpPr>
        <p:spPr>
          <a:xfrm>
            <a:off x="819215" y="1303761"/>
            <a:ext cx="590081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46"/>
          <p:cNvSpPr txBox="1">
            <a:spLocks noGrp="1"/>
          </p:cNvSpPr>
          <p:nvPr>
            <p:ph type="subTitle" idx="1"/>
          </p:nvPr>
        </p:nvSpPr>
        <p:spPr>
          <a:xfrm>
            <a:off x="819213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7" name="Google Shape;147;p46"/>
          <p:cNvSpPr txBox="1">
            <a:spLocks noGrp="1"/>
          </p:cNvSpPr>
          <p:nvPr>
            <p:ph type="body" idx="2"/>
          </p:nvPr>
        </p:nvSpPr>
        <p:spPr>
          <a:xfrm>
            <a:off x="819213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48" name="Google Shape;148;p46"/>
          <p:cNvSpPr txBox="1">
            <a:spLocks noGrp="1"/>
          </p:cNvSpPr>
          <p:nvPr>
            <p:ph type="subTitle" idx="3"/>
          </p:nvPr>
        </p:nvSpPr>
        <p:spPr>
          <a:xfrm>
            <a:off x="819213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49" name="Google Shape;149;p46"/>
          <p:cNvSpPr txBox="1">
            <a:spLocks noGrp="1"/>
          </p:cNvSpPr>
          <p:nvPr>
            <p:ph type="body" idx="4"/>
          </p:nvPr>
        </p:nvSpPr>
        <p:spPr>
          <a:xfrm>
            <a:off x="819213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50" name="Google Shape;150;p46"/>
          <p:cNvSpPr txBox="1">
            <a:spLocks noGrp="1"/>
          </p:cNvSpPr>
          <p:nvPr>
            <p:ph type="subTitle" idx="5"/>
          </p:nvPr>
        </p:nvSpPr>
        <p:spPr>
          <a:xfrm>
            <a:off x="3816012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51" name="Google Shape;151;p46"/>
          <p:cNvSpPr txBox="1">
            <a:spLocks noGrp="1"/>
          </p:cNvSpPr>
          <p:nvPr>
            <p:ph type="body" idx="6"/>
          </p:nvPr>
        </p:nvSpPr>
        <p:spPr>
          <a:xfrm>
            <a:off x="3816012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52" name="Google Shape;152;p46"/>
          <p:cNvSpPr txBox="1">
            <a:spLocks noGrp="1"/>
          </p:cNvSpPr>
          <p:nvPr>
            <p:ph type="subTitle" idx="7"/>
          </p:nvPr>
        </p:nvSpPr>
        <p:spPr>
          <a:xfrm>
            <a:off x="3816012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53" name="Google Shape;153;p46"/>
          <p:cNvSpPr txBox="1">
            <a:spLocks noGrp="1"/>
          </p:cNvSpPr>
          <p:nvPr>
            <p:ph type="body" idx="8"/>
          </p:nvPr>
        </p:nvSpPr>
        <p:spPr>
          <a:xfrm>
            <a:off x="3816012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4492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pporting systems slide">
  <p:cSld name="Supporting systems slide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Google Shape;155;p47"/>
          <p:cNvPicPr preferRelativeResize="0"/>
          <p:nvPr/>
        </p:nvPicPr>
        <p:blipFill rotWithShape="1">
          <a:blip r:embed="rId2">
            <a:alphaModFix/>
          </a:blip>
          <a:srcRect t="31365"/>
          <a:stretch/>
        </p:blipFill>
        <p:spPr>
          <a:xfrm>
            <a:off x="0" y="1"/>
            <a:ext cx="6270261" cy="31810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6" name="Google Shape;156;p47"/>
          <p:cNvGrpSpPr/>
          <p:nvPr/>
        </p:nvGrpSpPr>
        <p:grpSpPr>
          <a:xfrm>
            <a:off x="235399" y="234005"/>
            <a:ext cx="909783" cy="195959"/>
            <a:chOff x="388140" y="385909"/>
            <a:chExt cx="2335658" cy="503114"/>
          </a:xfrm>
        </p:grpSpPr>
        <p:sp>
          <p:nvSpPr>
            <p:cNvPr id="157" name="Google Shape;157;p47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47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47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47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47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62;p47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63;p47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64;p47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47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6" name="Google Shape;166;p47"/>
          <p:cNvSpPr txBox="1">
            <a:spLocks noGrp="1"/>
          </p:cNvSpPr>
          <p:nvPr>
            <p:ph type="title"/>
          </p:nvPr>
        </p:nvSpPr>
        <p:spPr>
          <a:xfrm>
            <a:off x="5780646" y="607512"/>
            <a:ext cx="565047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7" name="Google Shape;167;p47"/>
          <p:cNvSpPr txBox="1">
            <a:spLocks noGrp="1"/>
          </p:cNvSpPr>
          <p:nvPr>
            <p:ph type="subTitle" idx="1"/>
          </p:nvPr>
        </p:nvSpPr>
        <p:spPr>
          <a:xfrm>
            <a:off x="5787472" y="2050674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68" name="Google Shape;168;p47"/>
          <p:cNvSpPr txBox="1">
            <a:spLocks noGrp="1"/>
          </p:cNvSpPr>
          <p:nvPr>
            <p:ph type="body" idx="2"/>
          </p:nvPr>
        </p:nvSpPr>
        <p:spPr>
          <a:xfrm>
            <a:off x="5787472" y="2446403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69" name="Google Shape;169;p47"/>
          <p:cNvSpPr txBox="1">
            <a:spLocks noGrp="1"/>
          </p:cNvSpPr>
          <p:nvPr>
            <p:ph type="subTitle" idx="3"/>
          </p:nvPr>
        </p:nvSpPr>
        <p:spPr>
          <a:xfrm>
            <a:off x="5787472" y="3880838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0" name="Google Shape;170;p47"/>
          <p:cNvSpPr txBox="1">
            <a:spLocks noGrp="1"/>
          </p:cNvSpPr>
          <p:nvPr>
            <p:ph type="body" idx="4"/>
          </p:nvPr>
        </p:nvSpPr>
        <p:spPr>
          <a:xfrm>
            <a:off x="5787472" y="4276567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1" name="Google Shape;171;p47"/>
          <p:cNvSpPr txBox="1">
            <a:spLocks noGrp="1"/>
          </p:cNvSpPr>
          <p:nvPr>
            <p:ph type="subTitle" idx="5"/>
          </p:nvPr>
        </p:nvSpPr>
        <p:spPr>
          <a:xfrm>
            <a:off x="5787472" y="526708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2" name="Google Shape;172;p47"/>
          <p:cNvSpPr txBox="1">
            <a:spLocks noGrp="1"/>
          </p:cNvSpPr>
          <p:nvPr>
            <p:ph type="body" idx="6"/>
          </p:nvPr>
        </p:nvSpPr>
        <p:spPr>
          <a:xfrm>
            <a:off x="5787472" y="566281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3" name="Google Shape;173;p47"/>
          <p:cNvSpPr txBox="1">
            <a:spLocks noGrp="1"/>
          </p:cNvSpPr>
          <p:nvPr>
            <p:ph type="subTitle" idx="7"/>
          </p:nvPr>
        </p:nvSpPr>
        <p:spPr>
          <a:xfrm>
            <a:off x="8897815" y="2050674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4" name="Google Shape;174;p47"/>
          <p:cNvSpPr txBox="1">
            <a:spLocks noGrp="1"/>
          </p:cNvSpPr>
          <p:nvPr>
            <p:ph type="body" idx="8"/>
          </p:nvPr>
        </p:nvSpPr>
        <p:spPr>
          <a:xfrm>
            <a:off x="8897815" y="2446403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5" name="Google Shape;175;p47"/>
          <p:cNvSpPr txBox="1">
            <a:spLocks noGrp="1"/>
          </p:cNvSpPr>
          <p:nvPr>
            <p:ph type="subTitle" idx="9"/>
          </p:nvPr>
        </p:nvSpPr>
        <p:spPr>
          <a:xfrm>
            <a:off x="8897815" y="3880838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6" name="Google Shape;176;p47"/>
          <p:cNvSpPr txBox="1">
            <a:spLocks noGrp="1"/>
          </p:cNvSpPr>
          <p:nvPr>
            <p:ph type="body" idx="13"/>
          </p:nvPr>
        </p:nvSpPr>
        <p:spPr>
          <a:xfrm>
            <a:off x="8897815" y="4276567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77" name="Google Shape;177;p47"/>
          <p:cNvSpPr txBox="1">
            <a:spLocks noGrp="1"/>
          </p:cNvSpPr>
          <p:nvPr>
            <p:ph type="subTitle" idx="14"/>
          </p:nvPr>
        </p:nvSpPr>
        <p:spPr>
          <a:xfrm>
            <a:off x="8897815" y="526708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8" name="Google Shape;178;p47"/>
          <p:cNvSpPr txBox="1">
            <a:spLocks noGrp="1"/>
          </p:cNvSpPr>
          <p:nvPr>
            <p:ph type="body" idx="15"/>
          </p:nvPr>
        </p:nvSpPr>
        <p:spPr>
          <a:xfrm>
            <a:off x="8897815" y="566281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53376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dern Developer Blue">
  <p:cSld name="Modern Developer Blue">
    <p:bg>
      <p:bgPr>
        <a:gradFill>
          <a:gsLst>
            <a:gs pos="0">
              <a:srgbClr val="00C8B0"/>
            </a:gs>
            <a:gs pos="100000">
              <a:srgbClr val="0B7DC4"/>
            </a:gs>
          </a:gsLst>
          <a:lin ang="2698631" scaled="0"/>
        </a:grad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Google Shape;180;p48"/>
          <p:cNvPicPr preferRelativeResize="0"/>
          <p:nvPr/>
        </p:nvPicPr>
        <p:blipFill rotWithShape="1">
          <a:blip r:embed="rId2">
            <a:alphaModFix amt="22000"/>
          </a:blip>
          <a:srcRect l="2020" t="780" r="787" b="-779"/>
          <a:stretch/>
        </p:blipFill>
        <p:spPr>
          <a:xfrm rot="10800000" flipH="1">
            <a:off x="-2648367" y="2165829"/>
            <a:ext cx="4861796" cy="46545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1" name="Google Shape;181;p48"/>
          <p:cNvPicPr preferRelativeResize="0"/>
          <p:nvPr/>
        </p:nvPicPr>
        <p:blipFill rotWithShape="1">
          <a:blip r:embed="rId3">
            <a:alphaModFix amt="20000"/>
          </a:blip>
          <a:srcRect/>
          <a:stretch/>
        </p:blipFill>
        <p:spPr>
          <a:xfrm rot="-5400000">
            <a:off x="217498" y="1933092"/>
            <a:ext cx="6983661" cy="2991813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48"/>
          <p:cNvSpPr/>
          <p:nvPr/>
        </p:nvSpPr>
        <p:spPr>
          <a:xfrm>
            <a:off x="9162239" y="5877026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83" name="Google Shape;183;p48"/>
          <p:cNvGrpSpPr/>
          <p:nvPr/>
        </p:nvGrpSpPr>
        <p:grpSpPr>
          <a:xfrm>
            <a:off x="235399" y="234005"/>
            <a:ext cx="909783" cy="195959"/>
            <a:chOff x="388140" y="385909"/>
            <a:chExt cx="2335658" cy="503114"/>
          </a:xfrm>
        </p:grpSpPr>
        <p:sp>
          <p:nvSpPr>
            <p:cNvPr id="184" name="Google Shape;184;p48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185;p48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186;p48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187;p48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88;p48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89;p48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90;p48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191;p48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192;p48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3" name="Google Shape;193;p48"/>
          <p:cNvSpPr txBox="1">
            <a:spLocks noGrp="1"/>
          </p:cNvSpPr>
          <p:nvPr>
            <p:ph type="subTitle" idx="1"/>
          </p:nvPr>
        </p:nvSpPr>
        <p:spPr>
          <a:xfrm>
            <a:off x="6087449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4" name="Google Shape;194;p48"/>
          <p:cNvSpPr txBox="1">
            <a:spLocks noGrp="1"/>
          </p:cNvSpPr>
          <p:nvPr>
            <p:ph type="body" idx="2"/>
          </p:nvPr>
        </p:nvSpPr>
        <p:spPr>
          <a:xfrm>
            <a:off x="6087449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5" name="Google Shape;195;p48"/>
          <p:cNvSpPr txBox="1">
            <a:spLocks noGrp="1"/>
          </p:cNvSpPr>
          <p:nvPr>
            <p:ph type="subTitle" idx="3"/>
          </p:nvPr>
        </p:nvSpPr>
        <p:spPr>
          <a:xfrm>
            <a:off x="6087449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6" name="Google Shape;196;p48"/>
          <p:cNvSpPr txBox="1">
            <a:spLocks noGrp="1"/>
          </p:cNvSpPr>
          <p:nvPr>
            <p:ph type="body" idx="4"/>
          </p:nvPr>
        </p:nvSpPr>
        <p:spPr>
          <a:xfrm>
            <a:off x="6087449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7" name="Google Shape;197;p48"/>
          <p:cNvSpPr txBox="1">
            <a:spLocks noGrp="1"/>
          </p:cNvSpPr>
          <p:nvPr>
            <p:ph type="subTitle" idx="5"/>
          </p:nvPr>
        </p:nvSpPr>
        <p:spPr>
          <a:xfrm>
            <a:off x="6087449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98" name="Google Shape;198;p48"/>
          <p:cNvSpPr txBox="1">
            <a:spLocks noGrp="1"/>
          </p:cNvSpPr>
          <p:nvPr>
            <p:ph type="body" idx="6"/>
          </p:nvPr>
        </p:nvSpPr>
        <p:spPr>
          <a:xfrm>
            <a:off x="6087449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199" name="Google Shape;199;p48"/>
          <p:cNvSpPr txBox="1">
            <a:spLocks noGrp="1"/>
          </p:cNvSpPr>
          <p:nvPr>
            <p:ph type="subTitle" idx="7"/>
          </p:nvPr>
        </p:nvSpPr>
        <p:spPr>
          <a:xfrm>
            <a:off x="9038903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0" name="Google Shape;200;p48"/>
          <p:cNvSpPr txBox="1">
            <a:spLocks noGrp="1"/>
          </p:cNvSpPr>
          <p:nvPr>
            <p:ph type="body" idx="8"/>
          </p:nvPr>
        </p:nvSpPr>
        <p:spPr>
          <a:xfrm>
            <a:off x="9038903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1" name="Google Shape;201;p48"/>
          <p:cNvSpPr txBox="1">
            <a:spLocks noGrp="1"/>
          </p:cNvSpPr>
          <p:nvPr>
            <p:ph type="subTitle" idx="9"/>
          </p:nvPr>
        </p:nvSpPr>
        <p:spPr>
          <a:xfrm>
            <a:off x="9038903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2" name="Google Shape;202;p48"/>
          <p:cNvSpPr txBox="1">
            <a:spLocks noGrp="1"/>
          </p:cNvSpPr>
          <p:nvPr>
            <p:ph type="body" idx="13"/>
          </p:nvPr>
        </p:nvSpPr>
        <p:spPr>
          <a:xfrm>
            <a:off x="9038903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3" name="Google Shape;203;p48"/>
          <p:cNvSpPr txBox="1">
            <a:spLocks noGrp="1"/>
          </p:cNvSpPr>
          <p:nvPr>
            <p:ph type="subTitle" idx="14"/>
          </p:nvPr>
        </p:nvSpPr>
        <p:spPr>
          <a:xfrm>
            <a:off x="9038903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04" name="Google Shape;204;p48"/>
          <p:cNvSpPr txBox="1">
            <a:spLocks noGrp="1"/>
          </p:cNvSpPr>
          <p:nvPr>
            <p:ph type="body" idx="15"/>
          </p:nvPr>
        </p:nvSpPr>
        <p:spPr>
          <a:xfrm>
            <a:off x="9038903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05" name="Google Shape;205;p48"/>
          <p:cNvSpPr txBox="1">
            <a:spLocks noGrp="1"/>
          </p:cNvSpPr>
          <p:nvPr>
            <p:ph type="title"/>
          </p:nvPr>
        </p:nvSpPr>
        <p:spPr>
          <a:xfrm>
            <a:off x="643679" y="1121888"/>
            <a:ext cx="4944940" cy="2022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21279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dern Developer White">
  <p:cSld name="Modern Developer White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49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08" name="Google Shape;208;p49"/>
          <p:cNvPicPr preferRelativeResize="0"/>
          <p:nvPr/>
        </p:nvPicPr>
        <p:blipFill rotWithShape="1">
          <a:blip r:embed="rId2">
            <a:alphaModFix/>
          </a:blip>
          <a:srcRect l="66044" t="1096"/>
          <a:stretch/>
        </p:blipFill>
        <p:spPr>
          <a:xfrm rot="-5400000">
            <a:off x="3720986" y="3836031"/>
            <a:ext cx="1933903" cy="416394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" name="Google Shape;209;p49"/>
          <p:cNvPicPr preferRelativeResize="0"/>
          <p:nvPr/>
        </p:nvPicPr>
        <p:blipFill rotWithShape="1">
          <a:blip r:embed="rId2">
            <a:alphaModFix/>
          </a:blip>
          <a:srcRect l="26411" t="31365"/>
          <a:stretch/>
        </p:blipFill>
        <p:spPr>
          <a:xfrm rot="-5400000">
            <a:off x="-716251" y="2987452"/>
            <a:ext cx="4613756" cy="3181251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49"/>
          <p:cNvSpPr/>
          <p:nvPr/>
        </p:nvSpPr>
        <p:spPr>
          <a:xfrm>
            <a:off x="9162239" y="5877026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4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49"/>
          <p:cNvSpPr txBox="1">
            <a:spLocks noGrp="1"/>
          </p:cNvSpPr>
          <p:nvPr>
            <p:ph type="subTitle" idx="1"/>
          </p:nvPr>
        </p:nvSpPr>
        <p:spPr>
          <a:xfrm>
            <a:off x="6087449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3" name="Google Shape;213;p49"/>
          <p:cNvSpPr txBox="1">
            <a:spLocks noGrp="1"/>
          </p:cNvSpPr>
          <p:nvPr>
            <p:ph type="body" idx="2"/>
          </p:nvPr>
        </p:nvSpPr>
        <p:spPr>
          <a:xfrm>
            <a:off x="6087449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4" name="Google Shape;214;p49"/>
          <p:cNvSpPr txBox="1">
            <a:spLocks noGrp="1"/>
          </p:cNvSpPr>
          <p:nvPr>
            <p:ph type="subTitle" idx="3"/>
          </p:nvPr>
        </p:nvSpPr>
        <p:spPr>
          <a:xfrm>
            <a:off x="6087449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5" name="Google Shape;215;p49"/>
          <p:cNvSpPr txBox="1">
            <a:spLocks noGrp="1"/>
          </p:cNvSpPr>
          <p:nvPr>
            <p:ph type="body" idx="4"/>
          </p:nvPr>
        </p:nvSpPr>
        <p:spPr>
          <a:xfrm>
            <a:off x="6087449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6" name="Google Shape;216;p49"/>
          <p:cNvSpPr txBox="1">
            <a:spLocks noGrp="1"/>
          </p:cNvSpPr>
          <p:nvPr>
            <p:ph type="subTitle" idx="5"/>
          </p:nvPr>
        </p:nvSpPr>
        <p:spPr>
          <a:xfrm>
            <a:off x="6087449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7" name="Google Shape;217;p49"/>
          <p:cNvSpPr txBox="1">
            <a:spLocks noGrp="1"/>
          </p:cNvSpPr>
          <p:nvPr>
            <p:ph type="body" idx="6"/>
          </p:nvPr>
        </p:nvSpPr>
        <p:spPr>
          <a:xfrm>
            <a:off x="6087449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18" name="Google Shape;218;p49"/>
          <p:cNvSpPr txBox="1">
            <a:spLocks noGrp="1"/>
          </p:cNvSpPr>
          <p:nvPr>
            <p:ph type="subTitle" idx="7"/>
          </p:nvPr>
        </p:nvSpPr>
        <p:spPr>
          <a:xfrm>
            <a:off x="9038903" y="130162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19" name="Google Shape;219;p49"/>
          <p:cNvSpPr txBox="1">
            <a:spLocks noGrp="1"/>
          </p:cNvSpPr>
          <p:nvPr>
            <p:ph type="body" idx="8"/>
          </p:nvPr>
        </p:nvSpPr>
        <p:spPr>
          <a:xfrm>
            <a:off x="9038903" y="1697355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20" name="Google Shape;220;p49"/>
          <p:cNvSpPr txBox="1">
            <a:spLocks noGrp="1"/>
          </p:cNvSpPr>
          <p:nvPr>
            <p:ph type="subTitle" idx="9"/>
          </p:nvPr>
        </p:nvSpPr>
        <p:spPr>
          <a:xfrm>
            <a:off x="9038903" y="2813201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1" name="Google Shape;221;p49"/>
          <p:cNvSpPr txBox="1">
            <a:spLocks noGrp="1"/>
          </p:cNvSpPr>
          <p:nvPr>
            <p:ph type="body" idx="13"/>
          </p:nvPr>
        </p:nvSpPr>
        <p:spPr>
          <a:xfrm>
            <a:off x="9038903" y="3208930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22" name="Google Shape;222;p49"/>
          <p:cNvSpPr txBox="1">
            <a:spLocks noGrp="1"/>
          </p:cNvSpPr>
          <p:nvPr>
            <p:ph type="subTitle" idx="14"/>
          </p:nvPr>
        </p:nvSpPr>
        <p:spPr>
          <a:xfrm>
            <a:off x="9038903" y="432172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3" name="Google Shape;223;p49"/>
          <p:cNvSpPr txBox="1">
            <a:spLocks noGrp="1"/>
          </p:cNvSpPr>
          <p:nvPr>
            <p:ph type="body" idx="15"/>
          </p:nvPr>
        </p:nvSpPr>
        <p:spPr>
          <a:xfrm>
            <a:off x="9038903" y="4717459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08654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rchestration blue slide">
  <p:cSld name="orchestration blue slide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50"/>
          <p:cNvSpPr/>
          <p:nvPr/>
        </p:nvSpPr>
        <p:spPr>
          <a:xfrm>
            <a:off x="3567373" y="-23104"/>
            <a:ext cx="8632328" cy="4654869"/>
          </a:xfrm>
          <a:custGeom>
            <a:avLst/>
            <a:gdLst/>
            <a:ahLst/>
            <a:cxnLst/>
            <a:rect l="l" t="t" r="r" b="b"/>
            <a:pathLst>
              <a:path w="569374" h="307049" extrusionOk="0">
                <a:moveTo>
                  <a:pt x="130539" y="0"/>
                </a:moveTo>
                <a:lnTo>
                  <a:pt x="0" y="307049"/>
                </a:lnTo>
                <a:lnTo>
                  <a:pt x="569374" y="306324"/>
                </a:lnTo>
                <a:lnTo>
                  <a:pt x="568831" y="1027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pic>
        <p:nvPicPr>
          <p:cNvPr id="226" name="Google Shape;226;p50"/>
          <p:cNvPicPr preferRelativeResize="0"/>
          <p:nvPr/>
        </p:nvPicPr>
        <p:blipFill rotWithShape="1">
          <a:blip r:embed="rId2">
            <a:alphaModFix amt="22000"/>
          </a:blip>
          <a:srcRect l="2020" t="780" r="787" b="-779"/>
          <a:stretch/>
        </p:blipFill>
        <p:spPr>
          <a:xfrm rot="10800000">
            <a:off x="4191692" y="1386233"/>
            <a:ext cx="3389883" cy="3245367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5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" name="Google Shape;228;p50"/>
          <p:cNvSpPr txBox="1">
            <a:spLocks noGrp="1"/>
          </p:cNvSpPr>
          <p:nvPr>
            <p:ph type="subTitle" idx="1"/>
          </p:nvPr>
        </p:nvSpPr>
        <p:spPr>
          <a:xfrm>
            <a:off x="656641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29" name="Google Shape;229;p50"/>
          <p:cNvSpPr txBox="1">
            <a:spLocks noGrp="1"/>
          </p:cNvSpPr>
          <p:nvPr>
            <p:ph type="body" idx="2"/>
          </p:nvPr>
        </p:nvSpPr>
        <p:spPr>
          <a:xfrm>
            <a:off x="656641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0" name="Google Shape;230;p50"/>
          <p:cNvSpPr txBox="1">
            <a:spLocks noGrp="1"/>
          </p:cNvSpPr>
          <p:nvPr>
            <p:ph type="subTitle" idx="3"/>
          </p:nvPr>
        </p:nvSpPr>
        <p:spPr>
          <a:xfrm>
            <a:off x="3353465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1" name="Google Shape;231;p50"/>
          <p:cNvSpPr txBox="1">
            <a:spLocks noGrp="1"/>
          </p:cNvSpPr>
          <p:nvPr>
            <p:ph type="body" idx="4"/>
          </p:nvPr>
        </p:nvSpPr>
        <p:spPr>
          <a:xfrm>
            <a:off x="3353465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2" name="Google Shape;232;p50"/>
          <p:cNvSpPr txBox="1">
            <a:spLocks noGrp="1"/>
          </p:cNvSpPr>
          <p:nvPr>
            <p:ph type="subTitle" idx="5"/>
          </p:nvPr>
        </p:nvSpPr>
        <p:spPr>
          <a:xfrm>
            <a:off x="6150276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3" name="Google Shape;233;p50"/>
          <p:cNvSpPr txBox="1">
            <a:spLocks noGrp="1"/>
          </p:cNvSpPr>
          <p:nvPr>
            <p:ph type="body" idx="6"/>
          </p:nvPr>
        </p:nvSpPr>
        <p:spPr>
          <a:xfrm>
            <a:off x="6150276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34" name="Google Shape;234;p50"/>
          <p:cNvSpPr txBox="1">
            <a:spLocks noGrp="1"/>
          </p:cNvSpPr>
          <p:nvPr>
            <p:ph type="subTitle" idx="7"/>
          </p:nvPr>
        </p:nvSpPr>
        <p:spPr>
          <a:xfrm>
            <a:off x="9053488" y="4957790"/>
            <a:ext cx="2218128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Medium"/>
              <a:buNone/>
              <a:defRPr sz="1456"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35" name="Google Shape;235;p50"/>
          <p:cNvSpPr txBox="1">
            <a:spLocks noGrp="1"/>
          </p:cNvSpPr>
          <p:nvPr>
            <p:ph type="body" idx="8"/>
          </p:nvPr>
        </p:nvSpPr>
        <p:spPr>
          <a:xfrm>
            <a:off x="9053488" y="5353512"/>
            <a:ext cx="2218128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pic>
        <p:nvPicPr>
          <p:cNvPr id="236" name="Google Shape;236;p50"/>
          <p:cNvPicPr preferRelativeResize="0"/>
          <p:nvPr/>
        </p:nvPicPr>
        <p:blipFill rotWithShape="1">
          <a:blip r:embed="rId4">
            <a:alphaModFix/>
          </a:blip>
          <a:srcRect l="44713" t="-553" r="-1180" b="12626"/>
          <a:stretch/>
        </p:blipFill>
        <p:spPr>
          <a:xfrm flipH="1">
            <a:off x="8627222" y="-23104"/>
            <a:ext cx="3564780" cy="46545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88612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rchestration white slide">
  <p:cSld name="orchestration white slide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52"/>
          <p:cNvSpPr/>
          <p:nvPr/>
        </p:nvSpPr>
        <p:spPr>
          <a:xfrm>
            <a:off x="633355" y="6060992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4" name="Google Shape;254;p52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52"/>
          <p:cNvSpPr txBox="1">
            <a:spLocks noGrp="1"/>
          </p:cNvSpPr>
          <p:nvPr>
            <p:ph type="subTitle" idx="1"/>
          </p:nvPr>
        </p:nvSpPr>
        <p:spPr>
          <a:xfrm>
            <a:off x="633719" y="2804529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56" name="Google Shape;256;p52"/>
          <p:cNvSpPr txBox="1">
            <a:spLocks noGrp="1"/>
          </p:cNvSpPr>
          <p:nvPr>
            <p:ph type="body" idx="2"/>
          </p:nvPr>
        </p:nvSpPr>
        <p:spPr>
          <a:xfrm>
            <a:off x="633719" y="3200260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57" name="Google Shape;257;p52"/>
          <p:cNvSpPr txBox="1">
            <a:spLocks noGrp="1"/>
          </p:cNvSpPr>
          <p:nvPr>
            <p:ph type="subTitle" idx="3"/>
          </p:nvPr>
        </p:nvSpPr>
        <p:spPr>
          <a:xfrm>
            <a:off x="633719" y="4415311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58" name="Google Shape;258;p52"/>
          <p:cNvSpPr txBox="1">
            <a:spLocks noGrp="1"/>
          </p:cNvSpPr>
          <p:nvPr>
            <p:ph type="body" idx="4"/>
          </p:nvPr>
        </p:nvSpPr>
        <p:spPr>
          <a:xfrm>
            <a:off x="633719" y="4811043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59" name="Google Shape;259;p52"/>
          <p:cNvSpPr txBox="1">
            <a:spLocks noGrp="1"/>
          </p:cNvSpPr>
          <p:nvPr>
            <p:ph type="subTitle" idx="5"/>
          </p:nvPr>
        </p:nvSpPr>
        <p:spPr>
          <a:xfrm>
            <a:off x="3145365" y="2804529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60" name="Google Shape;260;p52"/>
          <p:cNvSpPr txBox="1">
            <a:spLocks noGrp="1"/>
          </p:cNvSpPr>
          <p:nvPr>
            <p:ph type="body" idx="6"/>
          </p:nvPr>
        </p:nvSpPr>
        <p:spPr>
          <a:xfrm>
            <a:off x="3145365" y="3200260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61" name="Google Shape;261;p52"/>
          <p:cNvSpPr txBox="1">
            <a:spLocks noGrp="1"/>
          </p:cNvSpPr>
          <p:nvPr>
            <p:ph type="subTitle" idx="7"/>
          </p:nvPr>
        </p:nvSpPr>
        <p:spPr>
          <a:xfrm>
            <a:off x="3145365" y="4415311"/>
            <a:ext cx="2384415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62" name="Google Shape;262;p52"/>
          <p:cNvSpPr txBox="1">
            <a:spLocks noGrp="1"/>
          </p:cNvSpPr>
          <p:nvPr>
            <p:ph type="body" idx="8"/>
          </p:nvPr>
        </p:nvSpPr>
        <p:spPr>
          <a:xfrm>
            <a:off x="3145365" y="4811043"/>
            <a:ext cx="2384415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57711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est-for-Purpose partners v1">
  <p:cSld name="Best-for-Purpose partners v1"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" name="Google Shape;264;p53"/>
          <p:cNvPicPr preferRelativeResize="0"/>
          <p:nvPr/>
        </p:nvPicPr>
        <p:blipFill rotWithShape="1">
          <a:blip r:embed="rId2">
            <a:alphaModFix/>
          </a:blip>
          <a:srcRect l="60845" b="13858"/>
          <a:stretch/>
        </p:blipFill>
        <p:spPr>
          <a:xfrm flipH="1">
            <a:off x="10005850" y="18444"/>
            <a:ext cx="2200389" cy="3578205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Google Shape;265;p53"/>
          <p:cNvSpPr/>
          <p:nvPr/>
        </p:nvSpPr>
        <p:spPr>
          <a:xfrm>
            <a:off x="55453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53"/>
          <p:cNvSpPr/>
          <p:nvPr/>
        </p:nvSpPr>
        <p:spPr>
          <a:xfrm>
            <a:off x="336207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53"/>
          <p:cNvSpPr/>
          <p:nvPr/>
        </p:nvSpPr>
        <p:spPr>
          <a:xfrm>
            <a:off x="616961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53"/>
          <p:cNvSpPr/>
          <p:nvPr/>
        </p:nvSpPr>
        <p:spPr>
          <a:xfrm>
            <a:off x="8977153" y="2479877"/>
            <a:ext cx="2596548" cy="2034596"/>
          </a:xfrm>
          <a:prstGeom prst="roundRect">
            <a:avLst>
              <a:gd name="adj" fmla="val 3862"/>
            </a:avLst>
          </a:prstGeom>
          <a:solidFill>
            <a:srgbClr val="FFFFFF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9" name="Google Shape;269;p5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0" name="Google Shape;270;p53"/>
          <p:cNvSpPr txBox="1">
            <a:spLocks noGrp="1"/>
          </p:cNvSpPr>
          <p:nvPr>
            <p:ph type="subTitle" idx="1"/>
          </p:nvPr>
        </p:nvSpPr>
        <p:spPr>
          <a:xfrm>
            <a:off x="554533" y="1513683"/>
            <a:ext cx="8211548" cy="799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2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Medium"/>
              <a:buNone/>
              <a:defRPr sz="1819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1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53"/>
          <p:cNvSpPr txBox="1">
            <a:spLocks noGrp="1"/>
          </p:cNvSpPr>
          <p:nvPr>
            <p:ph type="subTitle" idx="2"/>
          </p:nvPr>
        </p:nvSpPr>
        <p:spPr>
          <a:xfrm>
            <a:off x="752567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2" name="Google Shape;272;p53"/>
          <p:cNvSpPr txBox="1">
            <a:spLocks noGrp="1"/>
          </p:cNvSpPr>
          <p:nvPr>
            <p:ph type="body" idx="3"/>
          </p:nvPr>
        </p:nvSpPr>
        <p:spPr>
          <a:xfrm>
            <a:off x="752567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3" name="Google Shape;273;p53"/>
          <p:cNvSpPr txBox="1">
            <a:spLocks noGrp="1"/>
          </p:cNvSpPr>
          <p:nvPr>
            <p:ph type="subTitle" idx="4"/>
          </p:nvPr>
        </p:nvSpPr>
        <p:spPr>
          <a:xfrm>
            <a:off x="3560104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4" name="Google Shape;274;p53"/>
          <p:cNvSpPr txBox="1">
            <a:spLocks noGrp="1"/>
          </p:cNvSpPr>
          <p:nvPr>
            <p:ph type="body" idx="5"/>
          </p:nvPr>
        </p:nvSpPr>
        <p:spPr>
          <a:xfrm>
            <a:off x="3560104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5" name="Google Shape;275;p53"/>
          <p:cNvSpPr txBox="1">
            <a:spLocks noGrp="1"/>
          </p:cNvSpPr>
          <p:nvPr>
            <p:ph type="subTitle" idx="6"/>
          </p:nvPr>
        </p:nvSpPr>
        <p:spPr>
          <a:xfrm>
            <a:off x="6367641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6" name="Google Shape;276;p53"/>
          <p:cNvSpPr txBox="1">
            <a:spLocks noGrp="1"/>
          </p:cNvSpPr>
          <p:nvPr>
            <p:ph type="body" idx="7"/>
          </p:nvPr>
        </p:nvSpPr>
        <p:spPr>
          <a:xfrm>
            <a:off x="6367641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277" name="Google Shape;277;p53"/>
          <p:cNvSpPr txBox="1">
            <a:spLocks noGrp="1"/>
          </p:cNvSpPr>
          <p:nvPr>
            <p:ph type="subTitle" idx="8"/>
          </p:nvPr>
        </p:nvSpPr>
        <p:spPr>
          <a:xfrm>
            <a:off x="9175171" y="2762581"/>
            <a:ext cx="2200480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400"/>
              <a:buFont typeface="Roboto Medium"/>
              <a:buNone/>
              <a:defRPr sz="1456">
                <a:solidFill>
                  <a:srgbClr val="21212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278" name="Google Shape;278;p53"/>
          <p:cNvSpPr txBox="1">
            <a:spLocks noGrp="1"/>
          </p:cNvSpPr>
          <p:nvPr>
            <p:ph type="body" idx="9"/>
          </p:nvPr>
        </p:nvSpPr>
        <p:spPr>
          <a:xfrm>
            <a:off x="9175171" y="3158312"/>
            <a:ext cx="2200480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●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rgbClr val="212121"/>
              </a:buClr>
              <a:buSzPts val="1800"/>
              <a:buFont typeface="Roboto Light"/>
              <a:buChar char="○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rgbClr val="212121"/>
              </a:buClr>
              <a:buSzPts val="1800"/>
              <a:buFont typeface="Roboto Light"/>
              <a:buChar char="■"/>
              <a:defRPr sz="1091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430373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vOps security v2">
  <p:cSld name="DevOps security v2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806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bg>
      <p:bgPr>
        <a:solidFill>
          <a:schemeClr val="lt1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976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de title x2 cols dark">
  <p:cSld name="Side title x2 cols dark">
    <p:bg>
      <p:bgPr>
        <a:solidFill>
          <a:srgbClr val="212121"/>
        </a:solidFill>
        <a:effectLst/>
      </p:bgPr>
    </p:bg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3" name="Google Shape;283;p55"/>
          <p:cNvPicPr preferRelativeResize="0"/>
          <p:nvPr/>
        </p:nvPicPr>
        <p:blipFill rotWithShape="1">
          <a:blip r:embed="rId2">
            <a:alphaModFix/>
          </a:blip>
          <a:srcRect t="-38" b="2239"/>
          <a:stretch/>
        </p:blipFill>
        <p:spPr>
          <a:xfrm rot="5400000">
            <a:off x="-713557" y="713557"/>
            <a:ext cx="5152164" cy="3725048"/>
          </a:xfrm>
          <a:prstGeom prst="rect">
            <a:avLst/>
          </a:prstGeom>
          <a:noFill/>
          <a:ln>
            <a:noFill/>
          </a:ln>
        </p:spPr>
      </p:pic>
      <p:sp>
        <p:nvSpPr>
          <p:cNvPr id="284" name="Google Shape;284;p55"/>
          <p:cNvSpPr/>
          <p:nvPr/>
        </p:nvSpPr>
        <p:spPr>
          <a:xfrm>
            <a:off x="804827" y="5852224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p55"/>
          <p:cNvSpPr txBox="1">
            <a:spLocks noGrp="1"/>
          </p:cNvSpPr>
          <p:nvPr>
            <p:ph type="title"/>
          </p:nvPr>
        </p:nvSpPr>
        <p:spPr>
          <a:xfrm>
            <a:off x="644543" y="1383079"/>
            <a:ext cx="3464005" cy="3223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55"/>
          <p:cNvSpPr txBox="1">
            <a:spLocks noGrp="1"/>
          </p:cNvSpPr>
          <p:nvPr>
            <p:ph type="body" idx="1"/>
          </p:nvPr>
        </p:nvSpPr>
        <p:spPr>
          <a:xfrm>
            <a:off x="4852108" y="1461548"/>
            <a:ext cx="3046651" cy="4390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87" name="Google Shape;287;p55"/>
          <p:cNvSpPr txBox="1">
            <a:spLocks noGrp="1"/>
          </p:cNvSpPr>
          <p:nvPr>
            <p:ph type="body" idx="2"/>
          </p:nvPr>
        </p:nvSpPr>
        <p:spPr>
          <a:xfrm>
            <a:off x="8512541" y="1461549"/>
            <a:ext cx="3046651" cy="4367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88" name="Google Shape;288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9301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nking  level security dark">
  <p:cSld name="Banking  level security dark">
    <p:bg>
      <p:bgPr>
        <a:solidFill>
          <a:srgbClr val="212121"/>
        </a:solidFill>
        <a:effectLst/>
      </p:bgPr>
    </p:bg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0" name="Google Shape;290;p56"/>
          <p:cNvPicPr preferRelativeResize="0"/>
          <p:nvPr/>
        </p:nvPicPr>
        <p:blipFill rotWithShape="1">
          <a:blip r:embed="rId2">
            <a:alphaModFix/>
          </a:blip>
          <a:srcRect t="-38" b="2239"/>
          <a:stretch/>
        </p:blipFill>
        <p:spPr>
          <a:xfrm rot="5400000">
            <a:off x="-713557" y="713557"/>
            <a:ext cx="5152164" cy="3725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91" name="Google Shape;291;p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75218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anking  level security white">
  <p:cSld name="Banking  level security white">
    <p:bg>
      <p:bgPr>
        <a:solidFill>
          <a:schemeClr val="lt1"/>
        </a:solidFill>
        <a:effectLst/>
      </p:bgPr>
    </p:bg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3" name="Google Shape;293;p57"/>
          <p:cNvPicPr preferRelativeResize="0"/>
          <p:nvPr/>
        </p:nvPicPr>
        <p:blipFill rotWithShape="1">
          <a:blip r:embed="rId2">
            <a:alphaModFix/>
          </a:blip>
          <a:srcRect l="61613"/>
          <a:stretch/>
        </p:blipFill>
        <p:spPr>
          <a:xfrm rot="5400000" flipH="1">
            <a:off x="9857067" y="4553936"/>
            <a:ext cx="1365767" cy="33040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4" name="Google Shape;294;p57"/>
          <p:cNvPicPr preferRelativeResize="0"/>
          <p:nvPr/>
        </p:nvPicPr>
        <p:blipFill rotWithShape="1">
          <a:blip r:embed="rId3">
            <a:alphaModFix/>
          </a:blip>
          <a:srcRect l="374" t="708" r="42891" b="442"/>
          <a:stretch/>
        </p:blipFill>
        <p:spPr>
          <a:xfrm rot="10800000">
            <a:off x="1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295" name="Google Shape;295;p57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58340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hilosophy dark">
  <p:cSld name="philosophy dark">
    <p:bg>
      <p:bgPr>
        <a:solidFill>
          <a:srgbClr val="212121"/>
        </a:solidFill>
        <a:effectLst/>
      </p:bgPr>
    </p:bg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Google Shape;297;p58"/>
          <p:cNvPicPr preferRelativeResize="0"/>
          <p:nvPr/>
        </p:nvPicPr>
        <p:blipFill rotWithShape="1">
          <a:blip r:embed="rId2">
            <a:alphaModFix/>
          </a:blip>
          <a:srcRect l="-2183" t="-2370" r="25521" b="56063"/>
          <a:stretch/>
        </p:blipFill>
        <p:spPr>
          <a:xfrm>
            <a:off x="4999400" y="3215473"/>
            <a:ext cx="7192601" cy="3642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298" name="Google Shape;298;p5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97817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inciples slide">
  <p:cSld name="principles slide"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Google Shape;300;p60"/>
          <p:cNvPicPr preferRelativeResize="0"/>
          <p:nvPr/>
        </p:nvPicPr>
        <p:blipFill rotWithShape="1">
          <a:blip r:embed="rId2">
            <a:alphaModFix/>
          </a:blip>
          <a:srcRect l="12757" t="21486" r="53087" b="-3621"/>
          <a:stretch/>
        </p:blipFill>
        <p:spPr>
          <a:xfrm rot="5400000">
            <a:off x="8863098" y="3521397"/>
            <a:ext cx="2207103" cy="44507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01" name="Google Shape;301;p60"/>
          <p:cNvPicPr preferRelativeResize="0"/>
          <p:nvPr/>
        </p:nvPicPr>
        <p:blipFill rotWithShape="1">
          <a:blip r:embed="rId2">
            <a:alphaModFix/>
          </a:blip>
          <a:srcRect l="-1559" t="25250" r="36028" b="21582"/>
          <a:stretch/>
        </p:blipFill>
        <p:spPr>
          <a:xfrm flipH="1">
            <a:off x="8099463" y="1"/>
            <a:ext cx="3838772" cy="2611148"/>
          </a:xfrm>
          <a:prstGeom prst="rect">
            <a:avLst/>
          </a:prstGeom>
          <a:noFill/>
          <a:ln>
            <a:noFill/>
          </a:ln>
        </p:spPr>
      </p:pic>
      <p:sp>
        <p:nvSpPr>
          <p:cNvPr id="302" name="Google Shape;302;p6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88758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lexible models slide">
  <p:cSld name="Flexible models slide">
    <p:bg>
      <p:bgPr>
        <a:solidFill>
          <a:schemeClr val="lt1"/>
        </a:solidFill>
        <a:effectLst/>
      </p:bgPr>
    </p:bg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" name="Google Shape;304;p61"/>
          <p:cNvPicPr preferRelativeResize="0"/>
          <p:nvPr/>
        </p:nvPicPr>
        <p:blipFill rotWithShape="1">
          <a:blip r:embed="rId2">
            <a:alphaModFix/>
          </a:blip>
          <a:srcRect t="10229" r="43263" b="-9071"/>
          <a:stretch/>
        </p:blipFill>
        <p:spPr>
          <a:xfrm rot="10800000">
            <a:off x="1" y="2449011"/>
            <a:ext cx="2938249" cy="4424392"/>
          </a:xfrm>
          <a:prstGeom prst="rect">
            <a:avLst/>
          </a:prstGeom>
          <a:noFill/>
          <a:ln>
            <a:noFill/>
          </a:ln>
        </p:spPr>
      </p:pic>
      <p:sp>
        <p:nvSpPr>
          <p:cNvPr id="305" name="Google Shape;305;p61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15376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kstreams slide">
  <p:cSld name="workstreams slide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62"/>
          <p:cNvSpPr/>
          <p:nvPr/>
        </p:nvSpPr>
        <p:spPr>
          <a:xfrm>
            <a:off x="3429392" y="-364"/>
            <a:ext cx="8792392" cy="6884621"/>
          </a:xfrm>
          <a:custGeom>
            <a:avLst/>
            <a:gdLst/>
            <a:ahLst/>
            <a:cxnLst/>
            <a:rect l="l" t="t" r="r" b="b"/>
            <a:pathLst>
              <a:path w="592674" h="454130" extrusionOk="0">
                <a:moveTo>
                  <a:pt x="144555" y="0"/>
                </a:moveTo>
                <a:lnTo>
                  <a:pt x="0" y="454130"/>
                </a:lnTo>
                <a:lnTo>
                  <a:pt x="590932" y="454055"/>
                </a:lnTo>
                <a:lnTo>
                  <a:pt x="592674" y="24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pic>
        <p:nvPicPr>
          <p:cNvPr id="308" name="Google Shape;308;p62"/>
          <p:cNvPicPr preferRelativeResize="0"/>
          <p:nvPr/>
        </p:nvPicPr>
        <p:blipFill rotWithShape="1">
          <a:blip r:embed="rId2">
            <a:alphaModFix amt="20000"/>
          </a:blip>
          <a:srcRect/>
          <a:stretch/>
        </p:blipFill>
        <p:spPr>
          <a:xfrm rot="10800000" flipH="1">
            <a:off x="2343616" y="5180053"/>
            <a:ext cx="5605555" cy="2401089"/>
          </a:xfrm>
          <a:prstGeom prst="rect">
            <a:avLst/>
          </a:prstGeom>
          <a:noFill/>
          <a:ln>
            <a:noFill/>
          </a:ln>
        </p:spPr>
      </p:pic>
      <p:sp>
        <p:nvSpPr>
          <p:cNvPr id="309" name="Google Shape;309;p62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16855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kstreams slide 1">
  <p:cSld name="workstreams slide 1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63"/>
          <p:cNvSpPr/>
          <p:nvPr/>
        </p:nvSpPr>
        <p:spPr>
          <a:xfrm>
            <a:off x="3429392" y="-364"/>
            <a:ext cx="8792392" cy="6884621"/>
          </a:xfrm>
          <a:custGeom>
            <a:avLst/>
            <a:gdLst/>
            <a:ahLst/>
            <a:cxnLst/>
            <a:rect l="l" t="t" r="r" b="b"/>
            <a:pathLst>
              <a:path w="592674" h="454130" extrusionOk="0">
                <a:moveTo>
                  <a:pt x="144555" y="0"/>
                </a:moveTo>
                <a:lnTo>
                  <a:pt x="0" y="454130"/>
                </a:lnTo>
                <a:lnTo>
                  <a:pt x="590932" y="454055"/>
                </a:lnTo>
                <a:lnTo>
                  <a:pt x="592674" y="24"/>
                </a:lnTo>
                <a:close/>
              </a:path>
            </a:pathLst>
          </a:custGeom>
          <a:gradFill>
            <a:gsLst>
              <a:gs pos="0">
                <a:srgbClr val="00C8B0"/>
              </a:gs>
              <a:gs pos="100000">
                <a:srgbClr val="5F4695"/>
              </a:gs>
            </a:gsLst>
            <a:lin ang="2698631" scaled="0"/>
          </a:gradFill>
          <a:ln>
            <a:noFill/>
          </a:ln>
        </p:spPr>
      </p:sp>
      <p:sp>
        <p:nvSpPr>
          <p:cNvPr id="312" name="Google Shape;312;p63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29808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ditable x3 panels white">
  <p:cSld name="editable x3 panels white"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4" name="Google Shape;314;p64"/>
          <p:cNvPicPr preferRelativeResize="0"/>
          <p:nvPr/>
        </p:nvPicPr>
        <p:blipFill rotWithShape="1">
          <a:blip r:embed="rId2">
            <a:alphaModFix/>
          </a:blip>
          <a:srcRect l="-3390" t="21486" r="53088" b="-3621"/>
          <a:stretch/>
        </p:blipFill>
        <p:spPr>
          <a:xfrm rot="5400000">
            <a:off x="8341419" y="2999717"/>
            <a:ext cx="3250460" cy="44507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64"/>
          <p:cNvPicPr preferRelativeResize="0"/>
          <p:nvPr/>
        </p:nvPicPr>
        <p:blipFill rotWithShape="1">
          <a:blip r:embed="rId2">
            <a:alphaModFix/>
          </a:blip>
          <a:srcRect l="-1559" t="25250" r="36028" b="21582"/>
          <a:stretch/>
        </p:blipFill>
        <p:spPr>
          <a:xfrm flipH="1">
            <a:off x="8368375" y="1"/>
            <a:ext cx="3838772" cy="2611148"/>
          </a:xfrm>
          <a:prstGeom prst="rect">
            <a:avLst/>
          </a:prstGeom>
          <a:noFill/>
          <a:ln>
            <a:noFill/>
          </a:ln>
        </p:spPr>
      </p:pic>
      <p:sp>
        <p:nvSpPr>
          <p:cNvPr id="316" name="Google Shape;316;p64"/>
          <p:cNvSpPr/>
          <p:nvPr/>
        </p:nvSpPr>
        <p:spPr>
          <a:xfrm>
            <a:off x="624653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7" name="Google Shape;317;p64"/>
          <p:cNvSpPr/>
          <p:nvPr/>
        </p:nvSpPr>
        <p:spPr>
          <a:xfrm>
            <a:off x="4362058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8" name="Google Shape;318;p64"/>
          <p:cNvSpPr/>
          <p:nvPr/>
        </p:nvSpPr>
        <p:spPr>
          <a:xfrm>
            <a:off x="8099464" y="1675471"/>
            <a:ext cx="3488929" cy="3507059"/>
          </a:xfrm>
          <a:prstGeom prst="roundRect">
            <a:avLst>
              <a:gd name="adj" fmla="val 3862"/>
            </a:avLst>
          </a:prstGeom>
          <a:solidFill>
            <a:schemeClr val="lt1"/>
          </a:solidFill>
          <a:ln w="2857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9" name="Google Shape;319;p64"/>
          <p:cNvSpPr txBox="1">
            <a:spLocks noGrp="1"/>
          </p:cNvSpPr>
          <p:nvPr>
            <p:ph type="title"/>
          </p:nvPr>
        </p:nvSpPr>
        <p:spPr>
          <a:xfrm>
            <a:off x="914911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0" name="Google Shape;320;p64"/>
          <p:cNvSpPr txBox="1">
            <a:spLocks noGrp="1"/>
          </p:cNvSpPr>
          <p:nvPr>
            <p:ph type="body" idx="1"/>
          </p:nvPr>
        </p:nvSpPr>
        <p:spPr>
          <a:xfrm>
            <a:off x="914911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1" name="Google Shape;321;p64"/>
          <p:cNvSpPr txBox="1">
            <a:spLocks noGrp="1"/>
          </p:cNvSpPr>
          <p:nvPr>
            <p:ph type="title" idx="2"/>
          </p:nvPr>
        </p:nvSpPr>
        <p:spPr>
          <a:xfrm>
            <a:off x="4625951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2" name="Google Shape;322;p64"/>
          <p:cNvSpPr txBox="1">
            <a:spLocks noGrp="1"/>
          </p:cNvSpPr>
          <p:nvPr>
            <p:ph type="body" idx="3"/>
          </p:nvPr>
        </p:nvSpPr>
        <p:spPr>
          <a:xfrm>
            <a:off x="4625951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3" name="Google Shape;323;p64"/>
          <p:cNvSpPr txBox="1">
            <a:spLocks noGrp="1"/>
          </p:cNvSpPr>
          <p:nvPr>
            <p:ph type="title" idx="4"/>
          </p:nvPr>
        </p:nvSpPr>
        <p:spPr>
          <a:xfrm>
            <a:off x="8363357" y="1955976"/>
            <a:ext cx="2961143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64"/>
          <p:cNvSpPr txBox="1">
            <a:spLocks noGrp="1"/>
          </p:cNvSpPr>
          <p:nvPr>
            <p:ph type="body" idx="5"/>
          </p:nvPr>
        </p:nvSpPr>
        <p:spPr>
          <a:xfrm>
            <a:off x="8363357" y="2972639"/>
            <a:ext cx="2961143" cy="172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1pPr>
            <a:lvl2pPr marL="1219170" lvl="1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2pPr>
            <a:lvl3pPr marL="1828754" lvl="2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3pPr>
            <a:lvl4pPr marL="2438339" lvl="3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4pPr>
            <a:lvl5pPr marL="3047924" lvl="4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5pPr>
            <a:lvl6pPr marL="3657509" lvl="5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6pPr>
            <a:lvl7pPr marL="4267093" lvl="6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●"/>
              <a:defRPr sz="1091">
                <a:solidFill>
                  <a:srgbClr val="212121"/>
                </a:solidFill>
              </a:defRPr>
            </a:lvl7pPr>
            <a:lvl8pPr marL="4876678" lvl="7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○"/>
              <a:defRPr sz="1091">
                <a:solidFill>
                  <a:srgbClr val="212121"/>
                </a:solidFill>
              </a:defRPr>
            </a:lvl8pPr>
            <a:lvl9pPr marL="5486263" lvl="8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1800"/>
              <a:buChar char="■"/>
              <a:defRPr sz="1091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25" name="Google Shape;325;p64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68729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ject plan slide">
  <p:cSld name="Project plan slide"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65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6715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pproach slide">
  <p:cSld name="Approach slid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9703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able blue slide">
  <p:cSld name="Enable blue slide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9" name="Google Shape;329;p66"/>
          <p:cNvPicPr preferRelativeResize="0"/>
          <p:nvPr/>
        </p:nvPicPr>
        <p:blipFill rotWithShape="1">
          <a:blip r:embed="rId2">
            <a:alphaModFix/>
          </a:blip>
          <a:srcRect l="7185" r="-2251" b="-399"/>
          <a:stretch/>
        </p:blipFill>
        <p:spPr>
          <a:xfrm rot="5400000">
            <a:off x="1460934" y="409461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30" name="Google Shape;330;p6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40455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tandard 1">
  <p:cSld name="Standard 1">
    <p:bg>
      <p:bgPr>
        <a:solidFill>
          <a:schemeClr val="lt1"/>
        </a:solidFill>
        <a:effectLst/>
      </p:bgPr>
    </p:bg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68"/>
          <p:cNvSpPr/>
          <p:nvPr/>
        </p:nvSpPr>
        <p:spPr>
          <a:xfrm>
            <a:off x="9203978" y="1162138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7" name="Google Shape;337;p68"/>
          <p:cNvPicPr preferRelativeResize="0"/>
          <p:nvPr/>
        </p:nvPicPr>
        <p:blipFill rotWithShape="1">
          <a:blip r:embed="rId3">
            <a:alphaModFix/>
          </a:blip>
          <a:srcRect l="-612" t="15943" r="37417" b="57275"/>
          <a:stretch/>
        </p:blipFill>
        <p:spPr>
          <a:xfrm>
            <a:off x="7798773" y="5297155"/>
            <a:ext cx="4393228" cy="1560847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Google Shape;338;p68"/>
          <p:cNvSpPr txBox="1">
            <a:spLocks noGrp="1"/>
          </p:cNvSpPr>
          <p:nvPr>
            <p:ph type="title"/>
          </p:nvPr>
        </p:nvSpPr>
        <p:spPr>
          <a:xfrm>
            <a:off x="578442" y="1611571"/>
            <a:ext cx="4832869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39" name="Google Shape;339;p68"/>
          <p:cNvSpPr txBox="1">
            <a:spLocks noGrp="1"/>
          </p:cNvSpPr>
          <p:nvPr>
            <p:ph type="body" idx="1"/>
          </p:nvPr>
        </p:nvSpPr>
        <p:spPr>
          <a:xfrm>
            <a:off x="578442" y="2120934"/>
            <a:ext cx="1101004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53541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ndard 2">
  <p:cSld name="standard 2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6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2" name="Google Shape;342;p69"/>
          <p:cNvSpPr/>
          <p:nvPr/>
        </p:nvSpPr>
        <p:spPr>
          <a:xfrm>
            <a:off x="9203978" y="1162138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3" name="Google Shape;343;p69"/>
          <p:cNvPicPr preferRelativeResize="0"/>
          <p:nvPr/>
        </p:nvPicPr>
        <p:blipFill rotWithShape="1">
          <a:blip r:embed="rId3">
            <a:alphaModFix/>
          </a:blip>
          <a:srcRect l="-612" t="15943" r="37417" b="57275"/>
          <a:stretch/>
        </p:blipFill>
        <p:spPr>
          <a:xfrm>
            <a:off x="7798773" y="5297155"/>
            <a:ext cx="4393228" cy="1560847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69"/>
          <p:cNvSpPr txBox="1">
            <a:spLocks noGrp="1"/>
          </p:cNvSpPr>
          <p:nvPr>
            <p:ph type="title"/>
          </p:nvPr>
        </p:nvSpPr>
        <p:spPr>
          <a:xfrm>
            <a:off x="578442" y="1611571"/>
            <a:ext cx="5279151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69"/>
          <p:cNvSpPr txBox="1">
            <a:spLocks noGrp="1"/>
          </p:cNvSpPr>
          <p:nvPr>
            <p:ph type="body" idx="1"/>
          </p:nvPr>
        </p:nvSpPr>
        <p:spPr>
          <a:xfrm>
            <a:off x="578442" y="2120934"/>
            <a:ext cx="527915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  <p:sp>
        <p:nvSpPr>
          <p:cNvPr id="346" name="Google Shape;346;p69"/>
          <p:cNvSpPr txBox="1">
            <a:spLocks noGrp="1"/>
          </p:cNvSpPr>
          <p:nvPr>
            <p:ph type="title" idx="2"/>
          </p:nvPr>
        </p:nvSpPr>
        <p:spPr>
          <a:xfrm>
            <a:off x="6309242" y="1611571"/>
            <a:ext cx="5279151" cy="290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2304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3"/>
          </p:nvPr>
        </p:nvSpPr>
        <p:spPr>
          <a:xfrm>
            <a:off x="6309242" y="2120934"/>
            <a:ext cx="5279151" cy="3473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1pPr>
            <a:lvl2pPr marL="1219170" lvl="1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2pPr>
            <a:lvl3pPr marL="1828754" lvl="2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3pPr>
            <a:lvl4pPr marL="2438339" lvl="3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4pPr>
            <a:lvl5pPr marL="3047924" lvl="4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5pPr>
            <a:lvl6pPr marL="3657509" lvl="5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6pPr>
            <a:lvl7pPr marL="4267093" lvl="6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●"/>
              <a:defRPr sz="1335">
                <a:solidFill>
                  <a:srgbClr val="212121"/>
                </a:solidFill>
              </a:defRPr>
            </a:lvl7pPr>
            <a:lvl8pPr marL="4876678" lvl="7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○"/>
              <a:defRPr sz="1335">
                <a:solidFill>
                  <a:srgbClr val="212121"/>
                </a:solidFill>
              </a:defRPr>
            </a:lvl8pPr>
            <a:lvl9pPr marL="5486263" lvl="8" indent="-49105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2200"/>
              <a:buChar char="■"/>
              <a:defRPr sz="1335">
                <a:solidFill>
                  <a:srgbClr val="21212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74718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>
  <p:cSld name="Thank you slide">
    <p:bg>
      <p:bgPr>
        <a:solidFill>
          <a:srgbClr val="212121"/>
        </a:solidFill>
        <a:effectLst/>
      </p:bgPr>
    </p:bg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71"/>
          <p:cNvSpPr txBox="1"/>
          <p:nvPr/>
        </p:nvSpPr>
        <p:spPr>
          <a:xfrm>
            <a:off x="578441" y="5943684"/>
            <a:ext cx="3383409" cy="354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433" tIns="55433" rIns="55433" bIns="55433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82"/>
              <a:buFont typeface="Arial"/>
              <a:buNone/>
            </a:pPr>
            <a:r>
              <a:rPr lang="en-US" sz="1576" b="0" i="0" u="none" strike="noStrike" cap="none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rPr>
              <a:t>mambu.com</a:t>
            </a:r>
            <a:endParaRPr sz="1576" b="0" i="0" u="none" strike="noStrike" cap="none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0" name="Google Shape;360;p71"/>
          <p:cNvSpPr/>
          <p:nvPr/>
        </p:nvSpPr>
        <p:spPr>
          <a:xfrm>
            <a:off x="624653" y="5806290"/>
            <a:ext cx="2384415" cy="55485"/>
          </a:xfrm>
          <a:prstGeom prst="rect">
            <a:avLst/>
          </a:prstGeom>
          <a:solidFill>
            <a:srgbClr val="4FB645"/>
          </a:solidFill>
          <a:ln>
            <a:noFill/>
          </a:ln>
        </p:spPr>
        <p:txBody>
          <a:bodyPr spcFirstLastPara="1" wrap="square" lIns="55433" tIns="55433" rIns="55433" bIns="55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1" name="Google Shape;36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8257366" y="2923364"/>
            <a:ext cx="4524509" cy="33447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41194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slide">
  <p:cSld name="world map slide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3" name="Google Shape;363;p72"/>
          <p:cNvPicPr preferRelativeResize="0"/>
          <p:nvPr/>
        </p:nvPicPr>
        <p:blipFill rotWithShape="1">
          <a:blip r:embed="rId2">
            <a:alphaModFix/>
          </a:blip>
          <a:srcRect t="209" b="207"/>
          <a:stretch/>
        </p:blipFill>
        <p:spPr>
          <a:xfrm>
            <a:off x="4192063" y="724573"/>
            <a:ext cx="7308447" cy="5766403"/>
          </a:xfrm>
          <a:prstGeom prst="rect">
            <a:avLst/>
          </a:prstGeom>
          <a:noFill/>
          <a:ln>
            <a:noFill/>
          </a:ln>
        </p:spPr>
      </p:pic>
      <p:pic>
        <p:nvPicPr>
          <p:cNvPr id="364" name="Google Shape;364;p7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65" name="Google Shape;365;p72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66" name="Google Shape;366;p72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67" name="Google Shape;367;p72"/>
          <p:cNvPicPr preferRelativeResize="0"/>
          <p:nvPr/>
        </p:nvPicPr>
        <p:blipFill rotWithShape="1">
          <a:blip r:embed="rId4">
            <a:alphaModFix/>
          </a:blip>
          <a:srcRect l="7185" r="-2251" b="-399"/>
          <a:stretch/>
        </p:blipFill>
        <p:spPr>
          <a:xfrm rot="5400000">
            <a:off x="6655046" y="2722440"/>
            <a:ext cx="6982085" cy="61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174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2">
  <p:cSld name="world map 2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" name="Google Shape;369;p73"/>
          <p:cNvPicPr preferRelativeResize="0"/>
          <p:nvPr/>
        </p:nvPicPr>
        <p:blipFill rotWithShape="1">
          <a:blip r:embed="rId2">
            <a:alphaModFix/>
          </a:blip>
          <a:srcRect t="14979" r="34335" b="40251"/>
          <a:stretch/>
        </p:blipFill>
        <p:spPr>
          <a:xfrm>
            <a:off x="3404969" y="978399"/>
            <a:ext cx="5759940" cy="4789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70" name="Google Shape;370;p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73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72" name="Google Shape;372;p73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73" name="Google Shape;373;p73"/>
          <p:cNvPicPr preferRelativeResize="0"/>
          <p:nvPr/>
        </p:nvPicPr>
        <p:blipFill rotWithShape="1">
          <a:blip r:embed="rId4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5604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3">
  <p:cSld name="world map 3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5" name="Google Shape;375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76" name="Google Shape;376;p74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77" name="Google Shape;377;p74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78" name="Google Shape;378;p74"/>
          <p:cNvPicPr preferRelativeResize="0"/>
          <p:nvPr/>
        </p:nvPicPr>
        <p:blipFill rotWithShape="1">
          <a:blip r:embed="rId3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79" name="Google Shape;379;p74"/>
          <p:cNvPicPr preferRelativeResize="0"/>
          <p:nvPr/>
        </p:nvPicPr>
        <p:blipFill rotWithShape="1">
          <a:blip r:embed="rId4">
            <a:alphaModFix/>
          </a:blip>
          <a:srcRect l="11162" t="22755" r="11161" b="18395"/>
          <a:stretch/>
        </p:blipFill>
        <p:spPr>
          <a:xfrm>
            <a:off x="3762330" y="638633"/>
            <a:ext cx="6039676" cy="55807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5807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orld map 4">
  <p:cSld name="World map 4">
    <p:bg>
      <p:bgPr>
        <a:gradFill>
          <a:gsLst>
            <a:gs pos="0">
              <a:srgbClr val="00C8B0"/>
            </a:gs>
            <a:gs pos="100000">
              <a:srgbClr val="5F4695"/>
            </a:gs>
          </a:gsLst>
          <a:lin ang="2698631" scaled="0"/>
        </a:gradFill>
        <a:effectLst/>
      </p:bgPr>
    </p:bg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1" name="Google Shape;381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7772" y="234072"/>
            <a:ext cx="853979" cy="210633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p75"/>
          <p:cNvSpPr txBox="1">
            <a:spLocks noGrp="1"/>
          </p:cNvSpPr>
          <p:nvPr>
            <p:ph type="body" idx="1"/>
          </p:nvPr>
        </p:nvSpPr>
        <p:spPr>
          <a:xfrm>
            <a:off x="819381" y="2538713"/>
            <a:ext cx="2704616" cy="3473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1pPr>
            <a:lvl2pPr marL="1219170" lvl="1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2pPr>
            <a:lvl3pPr marL="1828754" lvl="2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3pPr>
            <a:lvl4pPr marL="2438339" lvl="3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4pPr>
            <a:lvl5pPr marL="3047924" lvl="4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5pPr>
            <a:lvl6pPr marL="3657509" lvl="5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6pPr>
            <a:lvl7pPr marL="4267093" lvl="6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●"/>
              <a:defRPr sz="1213">
                <a:solidFill>
                  <a:schemeClr val="lt1"/>
                </a:solidFill>
              </a:defRPr>
            </a:lvl7pPr>
            <a:lvl8pPr marL="4876678" lvl="7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○"/>
              <a:defRPr sz="1213">
                <a:solidFill>
                  <a:schemeClr val="lt1"/>
                </a:solidFill>
              </a:defRPr>
            </a:lvl8pPr>
            <a:lvl9pPr marL="5486263" lvl="8" indent="-47412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Char char="■"/>
              <a:defRPr sz="1213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83" name="Google Shape;383;p75"/>
          <p:cNvSpPr txBox="1">
            <a:spLocks noGrp="1"/>
          </p:cNvSpPr>
          <p:nvPr>
            <p:ph type="title"/>
          </p:nvPr>
        </p:nvSpPr>
        <p:spPr>
          <a:xfrm>
            <a:off x="726959" y="978398"/>
            <a:ext cx="3465096" cy="1736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0"/>
              <a:buNone/>
              <a:defRPr sz="4245">
                <a:solidFill>
                  <a:schemeClr val="lt1"/>
                </a:solidFill>
              </a:defRPr>
            </a:lvl1pPr>
            <a:lvl2pPr lvl="1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2pPr>
            <a:lvl3pPr lvl="2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3pPr>
            <a:lvl4pPr lvl="3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4pPr>
            <a:lvl5pPr lvl="4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5pPr>
            <a:lvl6pPr lvl="5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6pPr>
            <a:lvl7pPr lvl="6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7pPr>
            <a:lvl8pPr lvl="7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8pPr>
            <a:lvl9pPr lvl="8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SzPts val="7000"/>
              <a:buNone/>
              <a:defRPr sz="4245"/>
            </a:lvl9pPr>
          </a:lstStyle>
          <a:p>
            <a:endParaRPr/>
          </a:p>
        </p:txBody>
      </p:sp>
      <p:pic>
        <p:nvPicPr>
          <p:cNvPr id="384" name="Google Shape;384;p75"/>
          <p:cNvPicPr preferRelativeResize="0"/>
          <p:nvPr/>
        </p:nvPicPr>
        <p:blipFill rotWithShape="1">
          <a:blip r:embed="rId3">
            <a:alphaModFix/>
          </a:blip>
          <a:srcRect l="7185" r="-2251" b="-399"/>
          <a:stretch/>
        </p:blipFill>
        <p:spPr>
          <a:xfrm rot="5400000">
            <a:off x="6888860" y="2705749"/>
            <a:ext cx="6982085" cy="6182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85" name="Google Shape;385;p75"/>
          <p:cNvPicPr preferRelativeResize="0"/>
          <p:nvPr/>
        </p:nvPicPr>
        <p:blipFill rotWithShape="1">
          <a:blip r:embed="rId4">
            <a:alphaModFix/>
          </a:blip>
          <a:srcRect t="17605" b="12076"/>
          <a:stretch/>
        </p:blipFill>
        <p:spPr>
          <a:xfrm>
            <a:off x="2788897" y="669921"/>
            <a:ext cx="6580579" cy="55341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4933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0">
          <p15:clr>
            <a:srgbClr val="FA7B17"/>
          </p15:clr>
        </p15:guide>
        <p15:guide id="2" pos="828">
          <p15:clr>
            <a:srgbClr val="FA7B17"/>
          </p15:clr>
        </p15:guide>
        <p15:guide id="3" pos="2581">
          <p15:clr>
            <a:srgbClr val="FA7B17"/>
          </p15:clr>
        </p15:guide>
        <p15:guide id="4" pos="2679">
          <p15:clr>
            <a:srgbClr val="FA7B17"/>
          </p15:clr>
        </p15:guide>
        <p15:guide id="5" pos="4432">
          <p15:clr>
            <a:srgbClr val="FA7B17"/>
          </p15:clr>
        </p15:guide>
        <p15:guide id="6" pos="4530">
          <p15:clr>
            <a:srgbClr val="FA7B17"/>
          </p15:clr>
        </p15:guide>
        <p15:guide id="7" pos="6283">
          <p15:clr>
            <a:srgbClr val="FA7B17"/>
          </p15:clr>
        </p15:guide>
        <p15:guide id="8" pos="6381">
          <p15:clr>
            <a:srgbClr val="FA7B17"/>
          </p15:clr>
        </p15:guide>
        <p15:guide id="9" pos="8134">
          <p15:clr>
            <a:srgbClr val="FA7B17"/>
          </p15:clr>
        </p15:guide>
        <p15:guide id="10" pos="8232">
          <p15:clr>
            <a:srgbClr val="FA7B17"/>
          </p15:clr>
        </p15:guide>
        <p15:guide id="11" pos="9985">
          <p15:clr>
            <a:srgbClr val="FA7B17"/>
          </p15:clr>
        </p15:guide>
        <p15:guide id="12" pos="10083">
          <p15:clr>
            <a:srgbClr val="FA7B17"/>
          </p15:clr>
        </p15:guide>
        <p15:guide id="13" pos="11836">
          <p15:clr>
            <a:srgbClr val="FA7B17"/>
          </p15:clr>
        </p15:guide>
        <p15:guide id="14" pos="11934">
          <p15:clr>
            <a:srgbClr val="FA7B17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3">
  <p:cSld name="SECTION_HEADER_3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76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388" name="Google Shape;388;p76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9" name="Google Shape;389;p76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92568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1_3">
  <p:cSld name="SECTION_HEADER_1_3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p77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392" name="Google Shape;392;p77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3" name="Google Shape;393;p77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88715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exible and agile dark" type="titleOnly">
  <p:cSld name="Flexible and agile dark">
    <p:bg>
      <p:bgPr>
        <a:solidFill>
          <a:srgbClr val="212121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0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Google Shape;44;p20"/>
          <p:cNvSpPr txBox="1">
            <a:spLocks noGrp="1"/>
          </p:cNvSpPr>
          <p:nvPr>
            <p:ph type="title"/>
          </p:nvPr>
        </p:nvSpPr>
        <p:spPr>
          <a:xfrm>
            <a:off x="819215" y="1303761"/>
            <a:ext cx="5900816" cy="656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6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subTitle" idx="1"/>
          </p:nvPr>
        </p:nvSpPr>
        <p:spPr>
          <a:xfrm>
            <a:off x="819213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46" name="Google Shape;46;p20"/>
          <p:cNvSpPr txBox="1">
            <a:spLocks noGrp="1"/>
          </p:cNvSpPr>
          <p:nvPr>
            <p:ph type="body" idx="2"/>
          </p:nvPr>
        </p:nvSpPr>
        <p:spPr>
          <a:xfrm>
            <a:off x="819213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47" name="Google Shape;47;p20"/>
          <p:cNvSpPr txBox="1">
            <a:spLocks noGrp="1"/>
          </p:cNvSpPr>
          <p:nvPr>
            <p:ph type="subTitle" idx="3"/>
          </p:nvPr>
        </p:nvSpPr>
        <p:spPr>
          <a:xfrm>
            <a:off x="819213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48" name="Google Shape;48;p20"/>
          <p:cNvSpPr txBox="1">
            <a:spLocks noGrp="1"/>
          </p:cNvSpPr>
          <p:nvPr>
            <p:ph type="body" idx="4"/>
          </p:nvPr>
        </p:nvSpPr>
        <p:spPr>
          <a:xfrm>
            <a:off x="819213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49" name="Google Shape;49;p20"/>
          <p:cNvSpPr txBox="1">
            <a:spLocks noGrp="1"/>
          </p:cNvSpPr>
          <p:nvPr>
            <p:ph type="subTitle" idx="5"/>
          </p:nvPr>
        </p:nvSpPr>
        <p:spPr>
          <a:xfrm>
            <a:off x="3816012" y="2997009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50" name="Google Shape;50;p20"/>
          <p:cNvSpPr txBox="1">
            <a:spLocks noGrp="1"/>
          </p:cNvSpPr>
          <p:nvPr>
            <p:ph type="body" idx="6"/>
          </p:nvPr>
        </p:nvSpPr>
        <p:spPr>
          <a:xfrm>
            <a:off x="3816012" y="3392738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51" name="Google Shape;51;p20"/>
          <p:cNvSpPr txBox="1">
            <a:spLocks noGrp="1"/>
          </p:cNvSpPr>
          <p:nvPr>
            <p:ph type="subTitle" idx="7"/>
          </p:nvPr>
        </p:nvSpPr>
        <p:spPr>
          <a:xfrm>
            <a:off x="3816012" y="4752895"/>
            <a:ext cx="2750464" cy="457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Roboto Medium"/>
              <a:buNone/>
              <a:defRPr sz="1456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52" name="Google Shape;52;p20"/>
          <p:cNvSpPr txBox="1">
            <a:spLocks noGrp="1"/>
          </p:cNvSpPr>
          <p:nvPr>
            <p:ph type="body" idx="8"/>
          </p:nvPr>
        </p:nvSpPr>
        <p:spPr>
          <a:xfrm>
            <a:off x="3816012" y="5148624"/>
            <a:ext cx="2750464" cy="121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●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457189" algn="l">
              <a:lnSpc>
                <a:spcPct val="115000"/>
              </a:lnSpc>
              <a:spcBef>
                <a:spcPts val="607"/>
              </a:spcBef>
              <a:spcAft>
                <a:spcPts val="0"/>
              </a:spcAft>
              <a:buClr>
                <a:schemeClr val="lt1"/>
              </a:buClr>
              <a:buSzPts val="1800"/>
              <a:buFont typeface="Roboto Light"/>
              <a:buChar char="○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457189" algn="l">
              <a:lnSpc>
                <a:spcPct val="115000"/>
              </a:lnSpc>
              <a:spcBef>
                <a:spcPts val="607"/>
              </a:spcBef>
              <a:spcAft>
                <a:spcPts val="607"/>
              </a:spcAft>
              <a:buClr>
                <a:schemeClr val="lt1"/>
              </a:buClr>
              <a:buSzPts val="1800"/>
              <a:buFont typeface="Roboto Light"/>
              <a:buChar char="■"/>
              <a:defRPr sz="109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8710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Layout">
  <p:cSld name="Centered Layout"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Google Shape;395;p78"/>
          <p:cNvSpPr txBox="1">
            <a:spLocks noGrp="1"/>
          </p:cNvSpPr>
          <p:nvPr>
            <p:ph type="title"/>
          </p:nvPr>
        </p:nvSpPr>
        <p:spPr>
          <a:xfrm>
            <a:off x="627304" y="1031079"/>
            <a:ext cx="10955280" cy="6247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i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96" name="Google Shape;396;p78"/>
          <p:cNvSpPr txBox="1">
            <a:spLocks noGrp="1"/>
          </p:cNvSpPr>
          <p:nvPr>
            <p:ph type="body" idx="1"/>
          </p:nvPr>
        </p:nvSpPr>
        <p:spPr>
          <a:xfrm>
            <a:off x="609598" y="2418767"/>
            <a:ext cx="10915255" cy="3684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6pPr>
            <a:lvl7pPr marL="4267093" lvl="6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7pPr>
            <a:lvl8pPr marL="4876678" lvl="7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8pPr>
            <a:lvl9pPr marL="5486263" lvl="8" indent="-30479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000"/>
              <a:buFont typeface="Roboto"/>
              <a:buNone/>
              <a:defRPr sz="1213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97" name="Google Shape;397;p78"/>
          <p:cNvSpPr txBox="1">
            <a:spLocks noGrp="1"/>
          </p:cNvSpPr>
          <p:nvPr>
            <p:ph type="sldNum" idx="12"/>
          </p:nvPr>
        </p:nvSpPr>
        <p:spPr>
          <a:xfrm>
            <a:off x="8778240" y="6377941"/>
            <a:ext cx="2803952" cy="34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5668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p79"/>
          <p:cNvSpPr/>
          <p:nvPr/>
        </p:nvSpPr>
        <p:spPr>
          <a:xfrm>
            <a:off x="1" y="259"/>
            <a:ext cx="12192060" cy="6857484"/>
          </a:xfrm>
          <a:prstGeom prst="rect">
            <a:avLst/>
          </a:prstGeom>
          <a:gradFill>
            <a:gsLst>
              <a:gs pos="0">
                <a:srgbClr val="B4D3E4"/>
              </a:gs>
              <a:gs pos="100000">
                <a:srgbClr val="EBEFF0"/>
              </a:gs>
            </a:gsLst>
            <a:lin ang="780369" scaled="0"/>
          </a:gra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0" name="Google Shape;400;p79"/>
          <p:cNvSpPr/>
          <p:nvPr/>
        </p:nvSpPr>
        <p:spPr>
          <a:xfrm>
            <a:off x="-32369" y="-27682"/>
            <a:ext cx="12224445" cy="6946625"/>
          </a:xfrm>
          <a:prstGeom prst="rect">
            <a:avLst/>
          </a:prstGeom>
          <a:solidFill>
            <a:srgbClr val="FFFFFF">
              <a:alpha val="38039"/>
            </a:srgbClr>
          </a:solidFill>
          <a:ln>
            <a:noFill/>
          </a:ln>
        </p:spPr>
        <p:txBody>
          <a:bodyPr spcFirstLastPara="1" wrap="square" lIns="55433" tIns="55433" rIns="55433" bIns="554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37"/>
              <a:buFont typeface="Arial"/>
              <a:buNone/>
            </a:pPr>
            <a:endParaRPr sz="84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79"/>
          <p:cNvSpPr txBox="1">
            <a:spLocks noGrp="1"/>
          </p:cNvSpPr>
          <p:nvPr>
            <p:ph type="title"/>
          </p:nvPr>
        </p:nvSpPr>
        <p:spPr>
          <a:xfrm>
            <a:off x="627298" y="1031080"/>
            <a:ext cx="5328455" cy="624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None/>
              <a:defRPr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2" name="Google Shape;402;p79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98150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HEADER_4">
  <p:cSld name="SECTION_HEADER_4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80"/>
          <p:cNvSpPr txBox="1">
            <a:spLocks noGrp="1"/>
          </p:cNvSpPr>
          <p:nvPr>
            <p:ph type="title"/>
          </p:nvPr>
        </p:nvSpPr>
        <p:spPr>
          <a:xfrm>
            <a:off x="415600" y="1007939"/>
            <a:ext cx="11360808" cy="1021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600"/>
              <a:buFont typeface="Roboto"/>
              <a:buNone/>
              <a:defRPr sz="4003" b="1">
                <a:latin typeface="Roboto"/>
                <a:ea typeface="Roboto"/>
                <a:cs typeface="Roboto"/>
                <a:sym typeface="Robot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900"/>
              <a:buNone/>
              <a:defRPr sz="4791"/>
            </a:lvl9pPr>
          </a:lstStyle>
          <a:p>
            <a:endParaRPr/>
          </a:p>
        </p:txBody>
      </p:sp>
      <p:sp>
        <p:nvSpPr>
          <p:cNvPr id="405" name="Google Shape;405;p80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6" name="Google Shape;406;p80"/>
          <p:cNvSpPr/>
          <p:nvPr/>
        </p:nvSpPr>
        <p:spPr>
          <a:xfrm>
            <a:off x="237772" y="234071"/>
            <a:ext cx="852720" cy="207207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091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66880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ed Layout 1">
  <p:cSld name="Centered Layout 1"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Google Shape;408;p81"/>
          <p:cNvSpPr txBox="1">
            <a:spLocks noGrp="1"/>
          </p:cNvSpPr>
          <p:nvPr>
            <p:ph type="sldNum" idx="12"/>
          </p:nvPr>
        </p:nvSpPr>
        <p:spPr>
          <a:xfrm>
            <a:off x="8778240" y="6377941"/>
            <a:ext cx="2803952" cy="34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09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9" name="Google Shape;409;p81"/>
          <p:cNvSpPr txBox="1">
            <a:spLocks noGrp="1"/>
          </p:cNvSpPr>
          <p:nvPr>
            <p:ph type="sldNum" idx="2"/>
          </p:nvPr>
        </p:nvSpPr>
        <p:spPr>
          <a:xfrm>
            <a:off x="-41950" y="6754625"/>
            <a:ext cx="7935555" cy="179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75" tIns="150775" rIns="150775" bIns="15077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667" b="0" i="0" u="none" strike="noStrike" cap="none">
                <a:solidFill>
                  <a:srgbClr val="999999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This document is strictly private, confidential and personal to its recipients and should not be copied, distributed or reproduced in whole or in part, nor passed to any third party. </a:t>
            </a:r>
            <a:endParaRPr lang="en-US" sz="1335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972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51022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7074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70502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4025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25085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833133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title slide" type="secHead">
  <p:cSld name="Dark title slide">
    <p:bg>
      <p:bgPr>
        <a:solidFill>
          <a:srgbClr val="21212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30"/>
          <p:cNvSpPr txBox="1">
            <a:spLocks noGrp="1"/>
          </p:cNvSpPr>
          <p:nvPr>
            <p:ph type="title"/>
          </p:nvPr>
        </p:nvSpPr>
        <p:spPr>
          <a:xfrm>
            <a:off x="1000769" y="2283389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700"/>
              <a:buNone/>
              <a:defRPr sz="8308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30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85676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90413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258510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85313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820854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27690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692421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556559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574757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36563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41322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ream title slide">
  <p:cSld name="Cream title slide">
    <p:bg>
      <p:bgPr>
        <a:solidFill>
          <a:srgbClr val="F6EAE0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31"/>
          <p:cNvPicPr preferRelativeResize="0"/>
          <p:nvPr/>
        </p:nvPicPr>
        <p:blipFill rotWithShape="1">
          <a:blip r:embed="rId2">
            <a:alphaModFix/>
          </a:blip>
          <a:srcRect r="23784"/>
          <a:stretch/>
        </p:blipFill>
        <p:spPr>
          <a:xfrm>
            <a:off x="5205149" y="2931146"/>
            <a:ext cx="6986851" cy="3926855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3700"/>
              <a:buNone/>
              <a:defRPr sz="8308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31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24525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7245730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8609782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2933408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2182964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431384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99105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3175351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>
                <a:solidFill>
                  <a:schemeClr val="bg1"/>
                </a:solidFill>
              </a:rPr>
              <a:t>Co-brand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Logo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13717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4320000" y="3400021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3394267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3400021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509594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5606500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title slide">
  <p:cSld name="Green gradient title slide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32"/>
          <p:cNvPicPr preferRelativeResize="0"/>
          <p:nvPr/>
        </p:nvPicPr>
        <p:blipFill rotWithShape="1">
          <a:blip r:embed="rId2">
            <a:alphaModFix/>
          </a:blip>
          <a:srcRect t="1132" r="21623" b="8262"/>
          <a:stretch/>
        </p:blipFill>
        <p:spPr>
          <a:xfrm>
            <a:off x="5818931" y="1684764"/>
            <a:ext cx="6373069" cy="5173237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32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700"/>
              <a:buNone/>
              <a:defRPr sz="8308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32"/>
          <p:cNvSpPr txBox="1">
            <a:spLocks noGrp="1"/>
          </p:cNvSpPr>
          <p:nvPr>
            <p:ph type="subTitle" idx="1"/>
          </p:nvPr>
        </p:nvSpPr>
        <p:spPr>
          <a:xfrm>
            <a:off x="1052469" y="4207816"/>
            <a:ext cx="4932932" cy="798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lvl="0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Roboto Light"/>
              <a:buNone/>
              <a:defRPr sz="1819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lvl="1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algn="l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3000"/>
              <a:buFont typeface="Roboto Light"/>
              <a:buNone/>
              <a:defRPr sz="1819">
                <a:solidFill>
                  <a:srgbClr val="21212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grpSp>
        <p:nvGrpSpPr>
          <p:cNvPr id="67" name="Google Shape;67;p32"/>
          <p:cNvGrpSpPr/>
          <p:nvPr userDrawn="1"/>
        </p:nvGrpSpPr>
        <p:grpSpPr>
          <a:xfrm>
            <a:off x="1129561" y="1335953"/>
            <a:ext cx="1777496" cy="382856"/>
            <a:chOff x="388140" y="385909"/>
            <a:chExt cx="2335658" cy="503114"/>
          </a:xfrm>
        </p:grpSpPr>
        <p:sp>
          <p:nvSpPr>
            <p:cNvPr id="68" name="Google Shape;68;p32"/>
            <p:cNvSpPr/>
            <p:nvPr/>
          </p:nvSpPr>
          <p:spPr>
            <a:xfrm>
              <a:off x="2234208" y="482226"/>
              <a:ext cx="189230" cy="301625"/>
            </a:xfrm>
            <a:custGeom>
              <a:avLst/>
              <a:gdLst/>
              <a:ahLst/>
              <a:cxnLst/>
              <a:rect l="l" t="t" r="r" b="b"/>
              <a:pathLst>
                <a:path w="189230" h="301625" extrusionOk="0">
                  <a:moveTo>
                    <a:pt x="98740" y="0"/>
                  </a:moveTo>
                  <a:lnTo>
                    <a:pt x="22585" y="0"/>
                  </a:lnTo>
                  <a:lnTo>
                    <a:pt x="13795" y="1775"/>
                  </a:lnTo>
                  <a:lnTo>
                    <a:pt x="6616" y="6616"/>
                  </a:lnTo>
                  <a:lnTo>
                    <a:pt x="1775" y="13795"/>
                  </a:lnTo>
                  <a:lnTo>
                    <a:pt x="35" y="22410"/>
                  </a:lnTo>
                  <a:lnTo>
                    <a:pt x="0" y="298682"/>
                  </a:lnTo>
                  <a:lnTo>
                    <a:pt x="2649" y="301341"/>
                  </a:lnTo>
                  <a:lnTo>
                    <a:pt x="101284" y="301341"/>
                  </a:lnTo>
                  <a:lnTo>
                    <a:pt x="137374" y="295196"/>
                  </a:lnTo>
                  <a:lnTo>
                    <a:pt x="164959" y="277723"/>
                  </a:lnTo>
                  <a:lnTo>
                    <a:pt x="170486" y="269143"/>
                  </a:lnTo>
                  <a:lnTo>
                    <a:pt x="102206" y="269143"/>
                  </a:lnTo>
                  <a:lnTo>
                    <a:pt x="32574" y="268997"/>
                  </a:lnTo>
                  <a:lnTo>
                    <a:pt x="32574" y="161293"/>
                  </a:lnTo>
                  <a:lnTo>
                    <a:pt x="168430" y="161293"/>
                  </a:lnTo>
                  <a:lnTo>
                    <a:pt x="165583" y="157499"/>
                  </a:lnTo>
                  <a:lnTo>
                    <a:pt x="148435" y="143524"/>
                  </a:lnTo>
                  <a:lnTo>
                    <a:pt x="162000" y="130721"/>
                  </a:lnTo>
                  <a:lnTo>
                    <a:pt x="162682" y="129702"/>
                  </a:lnTo>
                  <a:lnTo>
                    <a:pt x="32616" y="129702"/>
                  </a:lnTo>
                  <a:lnTo>
                    <a:pt x="32616" y="29716"/>
                  </a:lnTo>
                  <a:lnTo>
                    <a:pt x="162581" y="29716"/>
                  </a:lnTo>
                  <a:lnTo>
                    <a:pt x="157851" y="22410"/>
                  </a:lnTo>
                  <a:lnTo>
                    <a:pt x="132085" y="5864"/>
                  </a:lnTo>
                  <a:lnTo>
                    <a:pt x="98740" y="0"/>
                  </a:lnTo>
                  <a:close/>
                </a:path>
                <a:path w="189230" h="301625" extrusionOk="0">
                  <a:moveTo>
                    <a:pt x="168430" y="161293"/>
                  </a:moveTo>
                  <a:lnTo>
                    <a:pt x="32574" y="161293"/>
                  </a:lnTo>
                  <a:lnTo>
                    <a:pt x="95065" y="161450"/>
                  </a:lnTo>
                  <a:lnTo>
                    <a:pt x="119672" y="165601"/>
                  </a:lnTo>
                  <a:lnTo>
                    <a:pt x="139557" y="176989"/>
                  </a:lnTo>
                  <a:lnTo>
                    <a:pt x="152855" y="194015"/>
                  </a:lnTo>
                  <a:lnTo>
                    <a:pt x="157702" y="215082"/>
                  </a:lnTo>
                  <a:lnTo>
                    <a:pt x="154063" y="238243"/>
                  </a:lnTo>
                  <a:lnTo>
                    <a:pt x="143375" y="255192"/>
                  </a:lnTo>
                  <a:lnTo>
                    <a:pt x="125976" y="265601"/>
                  </a:lnTo>
                  <a:lnTo>
                    <a:pt x="102206" y="269143"/>
                  </a:lnTo>
                  <a:lnTo>
                    <a:pt x="170486" y="269143"/>
                  </a:lnTo>
                  <a:lnTo>
                    <a:pt x="182581" y="250369"/>
                  </a:lnTo>
                  <a:lnTo>
                    <a:pt x="188779" y="214579"/>
                  </a:lnTo>
                  <a:lnTo>
                    <a:pt x="186090" y="193589"/>
                  </a:lnTo>
                  <a:lnTo>
                    <a:pt x="178247" y="174375"/>
                  </a:lnTo>
                  <a:lnTo>
                    <a:pt x="168430" y="161293"/>
                  </a:lnTo>
                  <a:close/>
                </a:path>
                <a:path w="189230" h="301625" extrusionOk="0">
                  <a:moveTo>
                    <a:pt x="162581" y="29716"/>
                  </a:moveTo>
                  <a:lnTo>
                    <a:pt x="99546" y="29716"/>
                  </a:lnTo>
                  <a:lnTo>
                    <a:pt x="120723" y="33008"/>
                  </a:lnTo>
                  <a:lnTo>
                    <a:pt x="136224" y="42680"/>
                  </a:lnTo>
                  <a:lnTo>
                    <a:pt x="145748" y="58425"/>
                  </a:lnTo>
                  <a:lnTo>
                    <a:pt x="148990" y="79934"/>
                  </a:lnTo>
                  <a:lnTo>
                    <a:pt x="144575" y="99487"/>
                  </a:lnTo>
                  <a:lnTo>
                    <a:pt x="132464" y="115287"/>
                  </a:lnTo>
                  <a:lnTo>
                    <a:pt x="114357" y="125852"/>
                  </a:lnTo>
                  <a:lnTo>
                    <a:pt x="91955" y="129702"/>
                  </a:lnTo>
                  <a:lnTo>
                    <a:pt x="162682" y="129702"/>
                  </a:lnTo>
                  <a:lnTo>
                    <a:pt x="172018" y="115756"/>
                  </a:lnTo>
                  <a:lnTo>
                    <a:pt x="178223" y="99113"/>
                  </a:lnTo>
                  <a:lnTo>
                    <a:pt x="180350" y="81275"/>
                  </a:lnTo>
                  <a:lnTo>
                    <a:pt x="174463" y="48070"/>
                  </a:lnTo>
                  <a:lnTo>
                    <a:pt x="162581" y="29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69;p32"/>
            <p:cNvSpPr/>
            <p:nvPr/>
          </p:nvSpPr>
          <p:spPr>
            <a:xfrm>
              <a:off x="1161674" y="482228"/>
              <a:ext cx="280034" cy="301625"/>
            </a:xfrm>
            <a:custGeom>
              <a:avLst/>
              <a:gdLst/>
              <a:ahLst/>
              <a:cxnLst/>
              <a:rect l="l" t="t" r="r" b="b"/>
              <a:pathLst>
                <a:path w="280034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0" y="300922"/>
                  </a:lnTo>
                  <a:lnTo>
                    <a:pt x="494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4" h="301625" extrusionOk="0">
                  <a:moveTo>
                    <a:pt x="270095" y="88971"/>
                  </a:moveTo>
                  <a:lnTo>
                    <a:pt x="236383" y="88971"/>
                  </a:lnTo>
                  <a:lnTo>
                    <a:pt x="23645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34" y="301425"/>
                  </a:lnTo>
                  <a:lnTo>
                    <a:pt x="279818" y="300922"/>
                  </a:lnTo>
                  <a:lnTo>
                    <a:pt x="279829" y="299791"/>
                  </a:lnTo>
                  <a:lnTo>
                    <a:pt x="270095" y="88971"/>
                  </a:lnTo>
                  <a:close/>
                </a:path>
                <a:path w="280034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15" y="93913"/>
                  </a:lnTo>
                  <a:lnTo>
                    <a:pt x="46189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47" y="301362"/>
                  </a:lnTo>
                  <a:lnTo>
                    <a:pt x="144396" y="299791"/>
                  </a:lnTo>
                  <a:lnTo>
                    <a:pt x="174769" y="230422"/>
                  </a:lnTo>
                  <a:lnTo>
                    <a:pt x="139977" y="230422"/>
                  </a:lnTo>
                  <a:lnTo>
                    <a:pt x="13907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4" h="301625" extrusionOk="0">
                  <a:moveTo>
                    <a:pt x="265513" y="0"/>
                  </a:moveTo>
                  <a:lnTo>
                    <a:pt x="252633" y="0"/>
                  </a:lnTo>
                  <a:lnTo>
                    <a:pt x="245657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9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5" y="88971"/>
                  </a:lnTo>
                  <a:lnTo>
                    <a:pt x="266039" y="1140"/>
                  </a:lnTo>
                  <a:lnTo>
                    <a:pt x="265994" y="460"/>
                  </a:lnTo>
                  <a:lnTo>
                    <a:pt x="2655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70;p32"/>
            <p:cNvSpPr/>
            <p:nvPr/>
          </p:nvSpPr>
          <p:spPr>
            <a:xfrm>
              <a:off x="1846406" y="482228"/>
              <a:ext cx="280035" cy="301625"/>
            </a:xfrm>
            <a:custGeom>
              <a:avLst/>
              <a:gdLst/>
              <a:ahLst/>
              <a:cxnLst/>
              <a:rect l="l" t="t" r="r" b="b"/>
              <a:pathLst>
                <a:path w="280035" h="301625" extrusionOk="0">
                  <a:moveTo>
                    <a:pt x="27321" y="0"/>
                  </a:moveTo>
                  <a:lnTo>
                    <a:pt x="14368" y="0"/>
                  </a:lnTo>
                  <a:lnTo>
                    <a:pt x="13876" y="460"/>
                  </a:lnTo>
                  <a:lnTo>
                    <a:pt x="0" y="299791"/>
                  </a:lnTo>
                  <a:lnTo>
                    <a:pt x="12" y="300922"/>
                  </a:lnTo>
                  <a:lnTo>
                    <a:pt x="505" y="301425"/>
                  </a:lnTo>
                  <a:lnTo>
                    <a:pt x="33593" y="301425"/>
                  </a:lnTo>
                  <a:lnTo>
                    <a:pt x="34116" y="300922"/>
                  </a:lnTo>
                  <a:lnTo>
                    <a:pt x="43488" y="93086"/>
                  </a:lnTo>
                  <a:lnTo>
                    <a:pt x="43572" y="88960"/>
                  </a:lnTo>
                  <a:lnTo>
                    <a:pt x="79921" y="88960"/>
                  </a:lnTo>
                  <a:lnTo>
                    <a:pt x="50503" y="20219"/>
                  </a:lnTo>
                  <a:lnTo>
                    <a:pt x="45599" y="11003"/>
                  </a:lnTo>
                  <a:lnTo>
                    <a:pt x="40290" y="4726"/>
                  </a:lnTo>
                  <a:lnTo>
                    <a:pt x="34293" y="1140"/>
                  </a:lnTo>
                  <a:lnTo>
                    <a:pt x="27321" y="0"/>
                  </a:lnTo>
                  <a:close/>
                </a:path>
                <a:path w="280035" h="301625" extrusionOk="0">
                  <a:moveTo>
                    <a:pt x="270096" y="88971"/>
                  </a:moveTo>
                  <a:lnTo>
                    <a:pt x="236383" y="88971"/>
                  </a:lnTo>
                  <a:lnTo>
                    <a:pt x="236466" y="93086"/>
                  </a:lnTo>
                  <a:lnTo>
                    <a:pt x="245774" y="299791"/>
                  </a:lnTo>
                  <a:lnTo>
                    <a:pt x="245838" y="300922"/>
                  </a:lnTo>
                  <a:lnTo>
                    <a:pt x="246351" y="301425"/>
                  </a:lnTo>
                  <a:lnTo>
                    <a:pt x="279355" y="301425"/>
                  </a:lnTo>
                  <a:lnTo>
                    <a:pt x="279830" y="300922"/>
                  </a:lnTo>
                  <a:lnTo>
                    <a:pt x="279840" y="299791"/>
                  </a:lnTo>
                  <a:lnTo>
                    <a:pt x="270096" y="88971"/>
                  </a:lnTo>
                  <a:close/>
                </a:path>
                <a:path w="280035" h="301625" extrusionOk="0">
                  <a:moveTo>
                    <a:pt x="79921" y="88960"/>
                  </a:moveTo>
                  <a:lnTo>
                    <a:pt x="43572" y="88960"/>
                  </a:lnTo>
                  <a:lnTo>
                    <a:pt x="44504" y="91515"/>
                  </a:lnTo>
                  <a:lnTo>
                    <a:pt x="45425" y="93913"/>
                  </a:lnTo>
                  <a:lnTo>
                    <a:pt x="46200" y="95735"/>
                  </a:lnTo>
                  <a:lnTo>
                    <a:pt x="135558" y="299791"/>
                  </a:lnTo>
                  <a:lnTo>
                    <a:pt x="137297" y="301362"/>
                  </a:lnTo>
                  <a:lnTo>
                    <a:pt x="142658" y="301362"/>
                  </a:lnTo>
                  <a:lnTo>
                    <a:pt x="144385" y="299791"/>
                  </a:lnTo>
                  <a:lnTo>
                    <a:pt x="174762" y="230422"/>
                  </a:lnTo>
                  <a:lnTo>
                    <a:pt x="139977" y="230422"/>
                  </a:lnTo>
                  <a:lnTo>
                    <a:pt x="139087" y="227741"/>
                  </a:lnTo>
                  <a:lnTo>
                    <a:pt x="138092" y="224956"/>
                  </a:lnTo>
                  <a:lnTo>
                    <a:pt x="137286" y="223008"/>
                  </a:lnTo>
                  <a:lnTo>
                    <a:pt x="79921" y="88960"/>
                  </a:lnTo>
                  <a:close/>
                </a:path>
                <a:path w="280035" h="301625" extrusionOk="0">
                  <a:moveTo>
                    <a:pt x="265523" y="0"/>
                  </a:moveTo>
                  <a:lnTo>
                    <a:pt x="252633" y="0"/>
                  </a:lnTo>
                  <a:lnTo>
                    <a:pt x="245661" y="1140"/>
                  </a:lnTo>
                  <a:lnTo>
                    <a:pt x="142658" y="223029"/>
                  </a:lnTo>
                  <a:lnTo>
                    <a:pt x="139977" y="230422"/>
                  </a:lnTo>
                  <a:lnTo>
                    <a:pt x="174762" y="230422"/>
                  </a:lnTo>
                  <a:lnTo>
                    <a:pt x="234540" y="93913"/>
                  </a:lnTo>
                  <a:lnTo>
                    <a:pt x="236383" y="88971"/>
                  </a:lnTo>
                  <a:lnTo>
                    <a:pt x="270096" y="88971"/>
                  </a:lnTo>
                  <a:lnTo>
                    <a:pt x="266005" y="460"/>
                  </a:lnTo>
                  <a:lnTo>
                    <a:pt x="2655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71;p32"/>
            <p:cNvSpPr/>
            <p:nvPr/>
          </p:nvSpPr>
          <p:spPr>
            <a:xfrm>
              <a:off x="1529433" y="482231"/>
              <a:ext cx="231139" cy="301625"/>
            </a:xfrm>
            <a:custGeom>
              <a:avLst/>
              <a:gdLst/>
              <a:ahLst/>
              <a:cxnLst/>
              <a:rect l="l" t="t" r="r" b="b"/>
              <a:pathLst>
                <a:path w="231139" h="301625" extrusionOk="0">
                  <a:moveTo>
                    <a:pt x="115326" y="0"/>
                  </a:moveTo>
                  <a:lnTo>
                    <a:pt x="79255" y="13210"/>
                  </a:lnTo>
                  <a:lnTo>
                    <a:pt x="59050" y="49820"/>
                  </a:lnTo>
                  <a:lnTo>
                    <a:pt x="0" y="300577"/>
                  </a:lnTo>
                  <a:lnTo>
                    <a:pt x="670" y="301425"/>
                  </a:lnTo>
                  <a:lnTo>
                    <a:pt x="33140" y="301435"/>
                  </a:lnTo>
                  <a:lnTo>
                    <a:pt x="33758" y="301435"/>
                  </a:lnTo>
                  <a:lnTo>
                    <a:pt x="34302" y="301006"/>
                  </a:lnTo>
                  <a:lnTo>
                    <a:pt x="59390" y="194643"/>
                  </a:lnTo>
                  <a:lnTo>
                    <a:pt x="205578" y="194643"/>
                  </a:lnTo>
                  <a:lnTo>
                    <a:pt x="197455" y="160162"/>
                  </a:lnTo>
                  <a:lnTo>
                    <a:pt x="67453" y="160162"/>
                  </a:lnTo>
                  <a:lnTo>
                    <a:pt x="92184" y="54239"/>
                  </a:lnTo>
                  <a:lnTo>
                    <a:pt x="95584" y="45323"/>
                  </a:lnTo>
                  <a:lnTo>
                    <a:pt x="100635" y="38826"/>
                  </a:lnTo>
                  <a:lnTo>
                    <a:pt x="107233" y="34872"/>
                  </a:lnTo>
                  <a:lnTo>
                    <a:pt x="115294" y="33538"/>
                  </a:lnTo>
                  <a:lnTo>
                    <a:pt x="165449" y="33538"/>
                  </a:lnTo>
                  <a:lnTo>
                    <a:pt x="163871" y="29264"/>
                  </a:lnTo>
                  <a:lnTo>
                    <a:pt x="151809" y="13739"/>
                  </a:lnTo>
                  <a:lnTo>
                    <a:pt x="135903" y="3807"/>
                  </a:lnTo>
                  <a:lnTo>
                    <a:pt x="116781" y="31"/>
                  </a:lnTo>
                  <a:lnTo>
                    <a:pt x="115326" y="0"/>
                  </a:lnTo>
                  <a:close/>
                </a:path>
                <a:path w="231139" h="301625" extrusionOk="0">
                  <a:moveTo>
                    <a:pt x="205578" y="194643"/>
                  </a:moveTo>
                  <a:lnTo>
                    <a:pt x="171146" y="194643"/>
                  </a:lnTo>
                  <a:lnTo>
                    <a:pt x="196698" y="301006"/>
                  </a:lnTo>
                  <a:lnTo>
                    <a:pt x="197219" y="301404"/>
                  </a:lnTo>
                  <a:lnTo>
                    <a:pt x="228956" y="301435"/>
                  </a:lnTo>
                  <a:lnTo>
                    <a:pt x="229856" y="301435"/>
                  </a:lnTo>
                  <a:lnTo>
                    <a:pt x="230516" y="300577"/>
                  </a:lnTo>
                  <a:lnTo>
                    <a:pt x="230328" y="299697"/>
                  </a:lnTo>
                  <a:lnTo>
                    <a:pt x="205578" y="194643"/>
                  </a:lnTo>
                  <a:close/>
                </a:path>
                <a:path w="231139" h="301625" extrusionOk="0">
                  <a:moveTo>
                    <a:pt x="165449" y="33538"/>
                  </a:moveTo>
                  <a:lnTo>
                    <a:pt x="115294" y="33538"/>
                  </a:lnTo>
                  <a:lnTo>
                    <a:pt x="116279" y="33559"/>
                  </a:lnTo>
                  <a:lnTo>
                    <a:pt x="123952" y="35114"/>
                  </a:lnTo>
                  <a:lnTo>
                    <a:pt x="130240" y="39132"/>
                  </a:lnTo>
                  <a:lnTo>
                    <a:pt x="135066" y="45533"/>
                  </a:lnTo>
                  <a:lnTo>
                    <a:pt x="138364" y="54291"/>
                  </a:lnTo>
                  <a:lnTo>
                    <a:pt x="163084" y="160162"/>
                  </a:lnTo>
                  <a:lnTo>
                    <a:pt x="197455" y="160162"/>
                  </a:lnTo>
                  <a:lnTo>
                    <a:pt x="171453" y="49799"/>
                  </a:lnTo>
                  <a:lnTo>
                    <a:pt x="165449" y="335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72;p32"/>
            <p:cNvSpPr/>
            <p:nvPr/>
          </p:nvSpPr>
          <p:spPr>
            <a:xfrm>
              <a:off x="2516788" y="482026"/>
              <a:ext cx="207010" cy="302895"/>
            </a:xfrm>
            <a:custGeom>
              <a:avLst/>
              <a:gdLst/>
              <a:ahLst/>
              <a:cxnLst/>
              <a:rect l="l" t="t" r="r" b="b"/>
              <a:pathLst>
                <a:path w="207010" h="302895" extrusionOk="0">
                  <a:moveTo>
                    <a:pt x="6020" y="20"/>
                  </a:moveTo>
                  <a:lnTo>
                    <a:pt x="659" y="31"/>
                  </a:lnTo>
                  <a:lnTo>
                    <a:pt x="125" y="544"/>
                  </a:lnTo>
                  <a:lnTo>
                    <a:pt x="0" y="199480"/>
                  </a:lnTo>
                  <a:lnTo>
                    <a:pt x="7095" y="242011"/>
                  </a:lnTo>
                  <a:lnTo>
                    <a:pt x="27699" y="274589"/>
                  </a:lnTo>
                  <a:lnTo>
                    <a:pt x="60269" y="295201"/>
                  </a:lnTo>
                  <a:lnTo>
                    <a:pt x="103358" y="302399"/>
                  </a:lnTo>
                  <a:lnTo>
                    <a:pt x="146015" y="295066"/>
                  </a:lnTo>
                  <a:lnTo>
                    <a:pt x="178618" y="274228"/>
                  </a:lnTo>
                  <a:lnTo>
                    <a:pt x="181363" y="269928"/>
                  </a:lnTo>
                  <a:lnTo>
                    <a:pt x="103347" y="269928"/>
                  </a:lnTo>
                  <a:lnTo>
                    <a:pt x="70907" y="263490"/>
                  </a:lnTo>
                  <a:lnTo>
                    <a:pt x="49461" y="246889"/>
                  </a:lnTo>
                  <a:lnTo>
                    <a:pt x="37616" y="224195"/>
                  </a:lnTo>
                  <a:lnTo>
                    <a:pt x="33977" y="199480"/>
                  </a:lnTo>
                  <a:lnTo>
                    <a:pt x="33977" y="19297"/>
                  </a:lnTo>
                  <a:lnTo>
                    <a:pt x="31171" y="11779"/>
                  </a:lnTo>
                  <a:lnTo>
                    <a:pt x="19172" y="816"/>
                  </a:lnTo>
                  <a:lnTo>
                    <a:pt x="11026" y="31"/>
                  </a:lnTo>
                  <a:lnTo>
                    <a:pt x="6020" y="31"/>
                  </a:lnTo>
                  <a:close/>
                </a:path>
                <a:path w="207010" h="302895" extrusionOk="0">
                  <a:moveTo>
                    <a:pt x="205962" y="20"/>
                  </a:moveTo>
                  <a:lnTo>
                    <a:pt x="172689" y="19297"/>
                  </a:lnTo>
                  <a:lnTo>
                    <a:pt x="172685" y="199480"/>
                  </a:lnTo>
                  <a:lnTo>
                    <a:pt x="169049" y="224195"/>
                  </a:lnTo>
                  <a:lnTo>
                    <a:pt x="157209" y="246889"/>
                  </a:lnTo>
                  <a:lnTo>
                    <a:pt x="135773" y="263490"/>
                  </a:lnTo>
                  <a:lnTo>
                    <a:pt x="103347" y="269928"/>
                  </a:lnTo>
                  <a:lnTo>
                    <a:pt x="181363" y="269928"/>
                  </a:lnTo>
                  <a:lnTo>
                    <a:pt x="199443" y="241605"/>
                  </a:lnTo>
                  <a:lnTo>
                    <a:pt x="206768" y="198915"/>
                  </a:lnTo>
                  <a:lnTo>
                    <a:pt x="206552" y="19308"/>
                  </a:lnTo>
                  <a:lnTo>
                    <a:pt x="206496" y="544"/>
                  </a:lnTo>
                  <a:lnTo>
                    <a:pt x="205962" y="20"/>
                  </a:lnTo>
                  <a:close/>
                </a:path>
                <a:path w="207010" h="302895" extrusionOk="0">
                  <a:moveTo>
                    <a:pt x="10701" y="0"/>
                  </a:moveTo>
                  <a:lnTo>
                    <a:pt x="6020" y="31"/>
                  </a:lnTo>
                  <a:lnTo>
                    <a:pt x="11026" y="31"/>
                  </a:lnTo>
                  <a:lnTo>
                    <a:pt x="1070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73;p32"/>
            <p:cNvSpPr/>
            <p:nvPr/>
          </p:nvSpPr>
          <p:spPr>
            <a:xfrm>
              <a:off x="424394" y="385909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81" y="101634"/>
                  </a:moveTo>
                  <a:lnTo>
                    <a:pt x="74641" y="101634"/>
                  </a:lnTo>
                  <a:lnTo>
                    <a:pt x="106083" y="109131"/>
                  </a:lnTo>
                  <a:lnTo>
                    <a:pt x="145084" y="131399"/>
                  </a:lnTo>
                  <a:lnTo>
                    <a:pt x="189765" y="155922"/>
                  </a:lnTo>
                  <a:lnTo>
                    <a:pt x="226550" y="160239"/>
                  </a:lnTo>
                  <a:lnTo>
                    <a:pt x="254653" y="145763"/>
                  </a:lnTo>
                  <a:lnTo>
                    <a:pt x="273290" y="113902"/>
                  </a:lnTo>
                  <a:lnTo>
                    <a:pt x="279081" y="101634"/>
                  </a:lnTo>
                  <a:close/>
                </a:path>
                <a:path w="359409" h="160654" extrusionOk="0">
                  <a:moveTo>
                    <a:pt x="212998" y="0"/>
                  </a:moveTo>
                  <a:lnTo>
                    <a:pt x="162518" y="5224"/>
                  </a:lnTo>
                  <a:lnTo>
                    <a:pt x="112322" y="21446"/>
                  </a:lnTo>
                  <a:lnTo>
                    <a:pt x="67924" y="46857"/>
                  </a:lnTo>
                  <a:lnTo>
                    <a:pt x="30193" y="80129"/>
                  </a:lnTo>
                  <a:lnTo>
                    <a:pt x="0" y="119933"/>
                  </a:lnTo>
                  <a:lnTo>
                    <a:pt x="6106" y="121008"/>
                  </a:lnTo>
                  <a:lnTo>
                    <a:pt x="13031" y="119303"/>
                  </a:lnTo>
                  <a:lnTo>
                    <a:pt x="20976" y="115744"/>
                  </a:lnTo>
                  <a:lnTo>
                    <a:pt x="30145" y="111253"/>
                  </a:lnTo>
                  <a:lnTo>
                    <a:pt x="49686" y="103983"/>
                  </a:lnTo>
                  <a:lnTo>
                    <a:pt x="74641" y="101634"/>
                  </a:lnTo>
                  <a:lnTo>
                    <a:pt x="279081" y="101634"/>
                  </a:lnTo>
                  <a:lnTo>
                    <a:pt x="292344" y="73538"/>
                  </a:lnTo>
                  <a:lnTo>
                    <a:pt x="312455" y="53041"/>
                  </a:lnTo>
                  <a:lnTo>
                    <a:pt x="331565" y="45787"/>
                  </a:lnTo>
                  <a:lnTo>
                    <a:pt x="347622" y="45150"/>
                  </a:lnTo>
                  <a:lnTo>
                    <a:pt x="357129" y="45150"/>
                  </a:lnTo>
                  <a:lnTo>
                    <a:pt x="358952" y="44365"/>
                  </a:lnTo>
                  <a:lnTo>
                    <a:pt x="326124" y="25731"/>
                  </a:lnTo>
                  <a:lnTo>
                    <a:pt x="290275" y="11781"/>
                  </a:lnTo>
                  <a:lnTo>
                    <a:pt x="252276" y="3031"/>
                  </a:lnTo>
                  <a:lnTo>
                    <a:pt x="212998" y="0"/>
                  </a:lnTo>
                  <a:close/>
                </a:path>
                <a:path w="359409" h="160654" extrusionOk="0">
                  <a:moveTo>
                    <a:pt x="357129" y="45150"/>
                  </a:moveTo>
                  <a:lnTo>
                    <a:pt x="347622" y="45150"/>
                  </a:lnTo>
                  <a:lnTo>
                    <a:pt x="356376" y="45475"/>
                  </a:lnTo>
                  <a:lnTo>
                    <a:pt x="357129" y="451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74;p32"/>
            <p:cNvSpPr/>
            <p:nvPr/>
          </p:nvSpPr>
          <p:spPr>
            <a:xfrm>
              <a:off x="424395" y="385915"/>
              <a:ext cx="359409" cy="160654"/>
            </a:xfrm>
            <a:custGeom>
              <a:avLst/>
              <a:gdLst/>
              <a:ahLst/>
              <a:cxnLst/>
              <a:rect l="l" t="t" r="r" b="b"/>
              <a:pathLst>
                <a:path w="359409" h="160654" extrusionOk="0">
                  <a:moveTo>
                    <a:pt x="279076" y="101633"/>
                  </a:moveTo>
                  <a:lnTo>
                    <a:pt x="74633" y="101633"/>
                  </a:lnTo>
                  <a:lnTo>
                    <a:pt x="106077" y="109131"/>
                  </a:lnTo>
                  <a:lnTo>
                    <a:pt x="145084" y="131399"/>
                  </a:lnTo>
                  <a:lnTo>
                    <a:pt x="189765" y="155921"/>
                  </a:lnTo>
                  <a:lnTo>
                    <a:pt x="226550" y="160238"/>
                  </a:lnTo>
                  <a:lnTo>
                    <a:pt x="254653" y="145758"/>
                  </a:lnTo>
                  <a:lnTo>
                    <a:pt x="273290" y="113891"/>
                  </a:lnTo>
                  <a:lnTo>
                    <a:pt x="279076" y="101633"/>
                  </a:lnTo>
                  <a:close/>
                </a:path>
                <a:path w="359409" h="160654" extrusionOk="0">
                  <a:moveTo>
                    <a:pt x="212988" y="0"/>
                  </a:moveTo>
                  <a:lnTo>
                    <a:pt x="162518" y="5214"/>
                  </a:lnTo>
                  <a:lnTo>
                    <a:pt x="112322" y="21440"/>
                  </a:lnTo>
                  <a:lnTo>
                    <a:pt x="67924" y="46851"/>
                  </a:lnTo>
                  <a:lnTo>
                    <a:pt x="30193" y="80124"/>
                  </a:lnTo>
                  <a:lnTo>
                    <a:pt x="0" y="119933"/>
                  </a:lnTo>
                  <a:lnTo>
                    <a:pt x="6106" y="121006"/>
                  </a:lnTo>
                  <a:lnTo>
                    <a:pt x="13031" y="119298"/>
                  </a:lnTo>
                  <a:lnTo>
                    <a:pt x="20976" y="115735"/>
                  </a:lnTo>
                  <a:lnTo>
                    <a:pt x="30145" y="111242"/>
                  </a:lnTo>
                  <a:lnTo>
                    <a:pt x="49680" y="103978"/>
                  </a:lnTo>
                  <a:lnTo>
                    <a:pt x="74633" y="101633"/>
                  </a:lnTo>
                  <a:lnTo>
                    <a:pt x="279076" y="101633"/>
                  </a:lnTo>
                  <a:lnTo>
                    <a:pt x="292342" y="73532"/>
                  </a:lnTo>
                  <a:lnTo>
                    <a:pt x="312455" y="53035"/>
                  </a:lnTo>
                  <a:lnTo>
                    <a:pt x="331568" y="45778"/>
                  </a:lnTo>
                  <a:lnTo>
                    <a:pt x="347622" y="45139"/>
                  </a:lnTo>
                  <a:lnTo>
                    <a:pt x="357132" y="45139"/>
                  </a:lnTo>
                  <a:lnTo>
                    <a:pt x="358962" y="44354"/>
                  </a:lnTo>
                  <a:lnTo>
                    <a:pt x="326129" y="25722"/>
                  </a:lnTo>
                  <a:lnTo>
                    <a:pt x="290279" y="11775"/>
                  </a:lnTo>
                  <a:lnTo>
                    <a:pt x="252276" y="3029"/>
                  </a:lnTo>
                  <a:lnTo>
                    <a:pt x="212988" y="0"/>
                  </a:lnTo>
                  <a:close/>
                </a:path>
                <a:path w="359409" h="160654" extrusionOk="0">
                  <a:moveTo>
                    <a:pt x="357132" y="45139"/>
                  </a:moveTo>
                  <a:lnTo>
                    <a:pt x="347622" y="45139"/>
                  </a:lnTo>
                  <a:lnTo>
                    <a:pt x="356376" y="45464"/>
                  </a:lnTo>
                  <a:lnTo>
                    <a:pt x="357132" y="451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75;p32"/>
            <p:cNvSpPr/>
            <p:nvPr/>
          </p:nvSpPr>
          <p:spPr>
            <a:xfrm>
              <a:off x="388141" y="471829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76" y="81522"/>
                  </a:moveTo>
                  <a:lnTo>
                    <a:pt x="8920" y="117624"/>
                  </a:lnTo>
                  <a:lnTo>
                    <a:pt x="0" y="188780"/>
                  </a:lnTo>
                  <a:lnTo>
                    <a:pt x="6086" y="225752"/>
                  </a:lnTo>
                  <a:lnTo>
                    <a:pt x="20970" y="268684"/>
                  </a:lnTo>
                  <a:lnTo>
                    <a:pt x="42648" y="307244"/>
                  </a:lnTo>
                  <a:lnTo>
                    <a:pt x="70253" y="340900"/>
                  </a:lnTo>
                  <a:lnTo>
                    <a:pt x="102915" y="369119"/>
                  </a:lnTo>
                  <a:lnTo>
                    <a:pt x="139767" y="391369"/>
                  </a:lnTo>
                  <a:lnTo>
                    <a:pt x="179940" y="407118"/>
                  </a:lnTo>
                  <a:lnTo>
                    <a:pt x="222565" y="415835"/>
                  </a:lnTo>
                  <a:lnTo>
                    <a:pt x="266775" y="416986"/>
                  </a:lnTo>
                  <a:lnTo>
                    <a:pt x="311700" y="410039"/>
                  </a:lnTo>
                  <a:lnTo>
                    <a:pt x="354634" y="395197"/>
                  </a:lnTo>
                  <a:lnTo>
                    <a:pt x="393129" y="373594"/>
                  </a:lnTo>
                  <a:lnTo>
                    <a:pt x="426673" y="346089"/>
                  </a:lnTo>
                  <a:lnTo>
                    <a:pt x="454752" y="313541"/>
                  </a:lnTo>
                  <a:lnTo>
                    <a:pt x="476854" y="276810"/>
                  </a:lnTo>
                  <a:lnTo>
                    <a:pt x="489166" y="245222"/>
                  </a:lnTo>
                  <a:lnTo>
                    <a:pt x="277441" y="245222"/>
                  </a:lnTo>
                  <a:lnTo>
                    <a:pt x="237962" y="242999"/>
                  </a:lnTo>
                  <a:lnTo>
                    <a:pt x="198668" y="226846"/>
                  </a:lnTo>
                  <a:lnTo>
                    <a:pt x="162891" y="198831"/>
                  </a:lnTo>
                  <a:lnTo>
                    <a:pt x="133967" y="161021"/>
                  </a:lnTo>
                  <a:lnTo>
                    <a:pt x="114325" y="124854"/>
                  </a:lnTo>
                  <a:lnTo>
                    <a:pt x="104289" y="109255"/>
                  </a:lnTo>
                  <a:lnTo>
                    <a:pt x="91455" y="94845"/>
                  </a:lnTo>
                  <a:lnTo>
                    <a:pt x="75799" y="84974"/>
                  </a:lnTo>
                  <a:lnTo>
                    <a:pt x="58476" y="81522"/>
                  </a:lnTo>
                  <a:close/>
                </a:path>
                <a:path w="502284" h="417194" extrusionOk="0">
                  <a:moveTo>
                    <a:pt x="416942" y="0"/>
                  </a:moveTo>
                  <a:lnTo>
                    <a:pt x="382472" y="29308"/>
                  </a:lnTo>
                  <a:lnTo>
                    <a:pt x="374088" y="67766"/>
                  </a:lnTo>
                  <a:lnTo>
                    <a:pt x="368364" y="112970"/>
                  </a:lnTo>
                  <a:lnTo>
                    <a:pt x="359980" y="158920"/>
                  </a:lnTo>
                  <a:lnTo>
                    <a:pt x="343615" y="199616"/>
                  </a:lnTo>
                  <a:lnTo>
                    <a:pt x="313770" y="231450"/>
                  </a:lnTo>
                  <a:lnTo>
                    <a:pt x="277441" y="245222"/>
                  </a:lnTo>
                  <a:lnTo>
                    <a:pt x="489166" y="245222"/>
                  </a:lnTo>
                  <a:lnTo>
                    <a:pt x="492466" y="236755"/>
                  </a:lnTo>
                  <a:lnTo>
                    <a:pt x="501075" y="194234"/>
                  </a:lnTo>
                  <a:lnTo>
                    <a:pt x="502168" y="150107"/>
                  </a:lnTo>
                  <a:lnTo>
                    <a:pt x="495233" y="105232"/>
                  </a:lnTo>
                  <a:lnTo>
                    <a:pt x="476074" y="52247"/>
                  </a:lnTo>
                  <a:lnTo>
                    <a:pt x="448763" y="14449"/>
                  </a:lnTo>
                  <a:lnTo>
                    <a:pt x="424210" y="814"/>
                  </a:lnTo>
                  <a:lnTo>
                    <a:pt x="4169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76;p32"/>
            <p:cNvSpPr/>
            <p:nvPr/>
          </p:nvSpPr>
          <p:spPr>
            <a:xfrm>
              <a:off x="388140" y="471828"/>
              <a:ext cx="502284" cy="417194"/>
            </a:xfrm>
            <a:custGeom>
              <a:avLst/>
              <a:gdLst/>
              <a:ahLst/>
              <a:cxnLst/>
              <a:rect l="l" t="t" r="r" b="b"/>
              <a:pathLst>
                <a:path w="502284" h="417194" extrusionOk="0">
                  <a:moveTo>
                    <a:pt x="58481" y="81526"/>
                  </a:moveTo>
                  <a:lnTo>
                    <a:pt x="8917" y="117624"/>
                  </a:lnTo>
                  <a:lnTo>
                    <a:pt x="0" y="188784"/>
                  </a:lnTo>
                  <a:lnTo>
                    <a:pt x="6087" y="225762"/>
                  </a:lnTo>
                  <a:lnTo>
                    <a:pt x="20968" y="268691"/>
                  </a:lnTo>
                  <a:lnTo>
                    <a:pt x="42645" y="307249"/>
                  </a:lnTo>
                  <a:lnTo>
                    <a:pt x="70249" y="340903"/>
                  </a:lnTo>
                  <a:lnTo>
                    <a:pt x="102912" y="369121"/>
                  </a:lnTo>
                  <a:lnTo>
                    <a:pt x="139765" y="391370"/>
                  </a:lnTo>
                  <a:lnTo>
                    <a:pt x="179939" y="407119"/>
                  </a:lnTo>
                  <a:lnTo>
                    <a:pt x="222565" y="415835"/>
                  </a:lnTo>
                  <a:lnTo>
                    <a:pt x="266776" y="416986"/>
                  </a:lnTo>
                  <a:lnTo>
                    <a:pt x="311701" y="410039"/>
                  </a:lnTo>
                  <a:lnTo>
                    <a:pt x="354635" y="395197"/>
                  </a:lnTo>
                  <a:lnTo>
                    <a:pt x="393131" y="373594"/>
                  </a:lnTo>
                  <a:lnTo>
                    <a:pt x="426674" y="346089"/>
                  </a:lnTo>
                  <a:lnTo>
                    <a:pt x="454754" y="313542"/>
                  </a:lnTo>
                  <a:lnTo>
                    <a:pt x="476856" y="276812"/>
                  </a:lnTo>
                  <a:lnTo>
                    <a:pt x="489166" y="245228"/>
                  </a:lnTo>
                  <a:lnTo>
                    <a:pt x="277443" y="245228"/>
                  </a:lnTo>
                  <a:lnTo>
                    <a:pt x="237964" y="243004"/>
                  </a:lnTo>
                  <a:lnTo>
                    <a:pt x="198669" y="226851"/>
                  </a:lnTo>
                  <a:lnTo>
                    <a:pt x="162892" y="198835"/>
                  </a:lnTo>
                  <a:lnTo>
                    <a:pt x="133968" y="161021"/>
                  </a:lnTo>
                  <a:lnTo>
                    <a:pt x="114326" y="124858"/>
                  </a:lnTo>
                  <a:lnTo>
                    <a:pt x="104291" y="109256"/>
                  </a:lnTo>
                  <a:lnTo>
                    <a:pt x="91456" y="94845"/>
                  </a:lnTo>
                  <a:lnTo>
                    <a:pt x="75802" y="84975"/>
                  </a:lnTo>
                  <a:lnTo>
                    <a:pt x="58481" y="81526"/>
                  </a:lnTo>
                  <a:close/>
                </a:path>
                <a:path w="502284" h="417194" extrusionOk="0">
                  <a:moveTo>
                    <a:pt x="416944" y="0"/>
                  </a:moveTo>
                  <a:lnTo>
                    <a:pt x="382474" y="29308"/>
                  </a:lnTo>
                  <a:lnTo>
                    <a:pt x="374089" y="67764"/>
                  </a:lnTo>
                  <a:lnTo>
                    <a:pt x="368366" y="112967"/>
                  </a:lnTo>
                  <a:lnTo>
                    <a:pt x="359982" y="158920"/>
                  </a:lnTo>
                  <a:lnTo>
                    <a:pt x="343616" y="199627"/>
                  </a:lnTo>
                  <a:lnTo>
                    <a:pt x="313772" y="231457"/>
                  </a:lnTo>
                  <a:lnTo>
                    <a:pt x="277443" y="245228"/>
                  </a:lnTo>
                  <a:lnTo>
                    <a:pt x="489166" y="245228"/>
                  </a:lnTo>
                  <a:lnTo>
                    <a:pt x="492467" y="236758"/>
                  </a:lnTo>
                  <a:lnTo>
                    <a:pt x="501076" y="194239"/>
                  </a:lnTo>
                  <a:lnTo>
                    <a:pt x="502170" y="150114"/>
                  </a:lnTo>
                  <a:lnTo>
                    <a:pt x="495235" y="105242"/>
                  </a:lnTo>
                  <a:lnTo>
                    <a:pt x="476072" y="52248"/>
                  </a:lnTo>
                  <a:lnTo>
                    <a:pt x="448765" y="14449"/>
                  </a:lnTo>
                  <a:lnTo>
                    <a:pt x="424216" y="816"/>
                  </a:lnTo>
                  <a:lnTo>
                    <a:pt x="4169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091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0542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84689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74254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061926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726AC9-51A8-4015-9370-C7A9F06E80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7200" y="6271200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135964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84645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een gradient background">
  <p:cSld name="Green gradient background">
    <p:bg>
      <p:bgPr>
        <a:gradFill>
          <a:gsLst>
            <a:gs pos="0">
              <a:srgbClr val="3FB95B"/>
            </a:gs>
            <a:gs pos="100000">
              <a:srgbClr val="251E59"/>
            </a:gs>
          </a:gsLst>
          <a:lin ang="2698631" scaled="0"/>
        </a:gra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42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9" name="Google Shape;119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81237" y="570502"/>
            <a:ext cx="853979" cy="210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8129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 side heading slide">
  <p:cSld name="Dark side heading slide">
    <p:bg>
      <p:bgPr>
        <a:solidFill>
          <a:srgbClr val="212121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33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9" name="Google Shape;79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60500" y="635175"/>
            <a:ext cx="1946563" cy="786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80;p33"/>
          <p:cNvPicPr preferRelativeResize="0"/>
          <p:nvPr/>
        </p:nvPicPr>
        <p:blipFill rotWithShape="1">
          <a:blip r:embed="rId3">
            <a:alphaModFix/>
          </a:blip>
          <a:srcRect t="2999" r="-8742" b="48907"/>
          <a:stretch/>
        </p:blipFill>
        <p:spPr>
          <a:xfrm flipH="1">
            <a:off x="0" y="5395755"/>
            <a:ext cx="7718888" cy="14622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1" name="Google Shape;81;p33"/>
          <p:cNvPicPr preferRelativeResize="0"/>
          <p:nvPr/>
        </p:nvPicPr>
        <p:blipFill rotWithShape="1">
          <a:blip r:embed="rId3">
            <a:alphaModFix/>
          </a:blip>
          <a:srcRect l="-15947" t="52973" r="32668"/>
          <a:stretch/>
        </p:blipFill>
        <p:spPr>
          <a:xfrm>
            <a:off x="6280557" y="5411947"/>
            <a:ext cx="5911444" cy="14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33"/>
          <p:cNvSpPr txBox="1">
            <a:spLocks noGrp="1"/>
          </p:cNvSpPr>
          <p:nvPr>
            <p:ph type="title"/>
          </p:nvPr>
        </p:nvSpPr>
        <p:spPr>
          <a:xfrm>
            <a:off x="960501" y="1565365"/>
            <a:ext cx="4384951" cy="2923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lvl="0" algn="l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900"/>
              <a:buNone/>
              <a:defRPr sz="6004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2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3"/>
          <p:cNvSpPr txBox="1">
            <a:spLocks noGrp="1"/>
          </p:cNvSpPr>
          <p:nvPr>
            <p:ph type="body" idx="1"/>
          </p:nvPr>
        </p:nvSpPr>
        <p:spPr>
          <a:xfrm>
            <a:off x="5944814" y="1600081"/>
            <a:ext cx="5351743" cy="3262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Autofit/>
          </a:bodyPr>
          <a:lstStyle>
            <a:lvl1pPr marL="609585" lvl="0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1pPr>
            <a:lvl2pPr marL="1219170" lvl="1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828754" lvl="2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2438339" lvl="3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3047924" lvl="4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3657509" lvl="5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4267093" lvl="6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●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4876678" lvl="7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○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5486263" lvl="8" indent="-54185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Roboto Light"/>
              <a:buChar char="■"/>
              <a:defRPr sz="1697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5582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74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image" Target="../media/image17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8" cy="763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600"/>
              <a:buFont typeface="Roboto"/>
              <a:buNone/>
              <a:defRPr sz="6600" b="1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" name="Google Shape;7;p11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8" cy="4555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lvl1pPr marL="457200" marR="0" lvl="0" indent="-482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Roboto"/>
              <a:buChar char="●"/>
              <a:defRPr sz="40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●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●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○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425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100"/>
              <a:buFont typeface="Roboto"/>
              <a:buChar char="■"/>
              <a:defRPr sz="3100" b="0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1"/>
          <p:cNvSpPr txBox="1">
            <a:spLocks noGrp="1"/>
          </p:cNvSpPr>
          <p:nvPr>
            <p:ph type="sldNum" idx="12"/>
          </p:nvPr>
        </p:nvSpPr>
        <p:spPr>
          <a:xfrm>
            <a:off x="11296612" y="6217623"/>
            <a:ext cx="731553" cy="524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1"/>
              <a:buFont typeface="Arial"/>
              <a:buNone/>
              <a:defRPr sz="1335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8691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5" r:id="rId41"/>
    <p:sldLayoutId id="2147483706" r:id="rId42"/>
    <p:sldLayoutId id="2147483708" r:id="rId43"/>
    <p:sldLayoutId id="2147483709" r:id="rId44"/>
    <p:sldLayoutId id="2147483710" r:id="rId45"/>
    <p:sldLayoutId id="2147483711" r:id="rId46"/>
    <p:sldLayoutId id="2147483712" r:id="rId47"/>
    <p:sldLayoutId id="2147483713" r:id="rId48"/>
    <p:sldLayoutId id="2147483714" r:id="rId49"/>
    <p:sldLayoutId id="2147483715" r:id="rId50"/>
    <p:sldLayoutId id="2147483716" r:id="rId51"/>
    <p:sldLayoutId id="2147483717" r:id="rId52"/>
    <p:sldLayoutId id="2147483718" r:id="rId5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593475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28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  <p:sldLayoutId id="2147483751" r:id="rId31"/>
    <p:sldLayoutId id="2147483752" r:id="rId32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Google Shape;857;p1"/>
          <p:cNvSpPr txBox="1">
            <a:spLocks noGrp="1"/>
          </p:cNvSpPr>
          <p:nvPr>
            <p:ph type="title"/>
          </p:nvPr>
        </p:nvSpPr>
        <p:spPr>
          <a:xfrm>
            <a:off x="1000769" y="2116432"/>
            <a:ext cx="7919545" cy="2049513"/>
          </a:xfrm>
        </p:spPr>
        <p:txBody>
          <a:bodyPr spcFirstLastPara="1" wrap="square" lIns="268033" tIns="268033" rIns="268033" bIns="268033" anchor="t" anchorCtr="0">
            <a:normAutofit/>
          </a:bodyPr>
          <a:lstStyle/>
          <a:p>
            <a:pPr>
              <a:buSzPts val="16020"/>
            </a:pPr>
            <a:r>
              <a:rPr lang="en-US" sz="5800"/>
              <a:t>Mambu Training Manua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58D1ED-EB5E-42D3-937F-1E723DD75233}"/>
              </a:ext>
            </a:extLst>
          </p:cNvPr>
          <p:cNvSpPr/>
          <p:nvPr/>
        </p:nvSpPr>
        <p:spPr>
          <a:xfrm>
            <a:off x="10259975" y="6138224"/>
            <a:ext cx="1165672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april </a:t>
            </a:r>
            <a:r>
              <a:rPr lang="en-US" sz="1200" b="1" dirty="0">
                <a:solidFill>
                  <a:schemeClr val="bg1"/>
                </a:solidFill>
              </a:rPr>
              <a:t>2022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Frame 3">
            <a:extLst>
              <a:ext uri="{FF2B5EF4-FFF2-40B4-BE49-F238E27FC236}">
                <a16:creationId xmlns:a16="http://schemas.microsoft.com/office/drawing/2014/main" id="{02427AC4-EE07-450A-A9B2-6576162B1800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21C8ED-4861-41C5-9507-BE03356117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7B049C-9C74-4B9D-9D85-CBAC47C89093}"/>
              </a:ext>
            </a:extLst>
          </p:cNvPr>
          <p:cNvSpPr txBox="1">
            <a:spLocks/>
          </p:cNvSpPr>
          <p:nvPr/>
        </p:nvSpPr>
        <p:spPr>
          <a:xfrm>
            <a:off x="886619" y="3206795"/>
            <a:ext cx="10418763" cy="1592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01025" tIns="201025" rIns="201025" bIns="2010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600"/>
              <a:buFont typeface="Roboto"/>
              <a:buNone/>
              <a:defRPr sz="6600" b="1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200"/>
              <a:buFont typeface="Roboto"/>
              <a:buNone/>
              <a:defRPr sz="6200" b="0" i="0" u="none" strike="noStrike" cap="none">
                <a:solidFill>
                  <a:srgbClr val="21212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12121"/>
              </a:buClr>
              <a:buSzPts val="6600"/>
              <a:buFont typeface="Roboto"/>
              <a:buNone/>
              <a:tabLst/>
              <a:defRPr/>
            </a:pPr>
            <a:r>
              <a:rPr lang="pt-PT" sz="3850" b="1" kern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V. Technical Webinars and Vídeos</a:t>
            </a:r>
            <a:endParaRPr kumimoji="0" lang="pt-PT" sz="38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  <a:sym typeface="Roboto"/>
            </a:endParaRP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57A572B2-184F-461D-B4F3-0C5762BF2881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0FD6412-C4E3-4EAC-A45C-379493D94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0E83823-F697-442E-8E2B-2664DCF5C0B3}"/>
              </a:ext>
            </a:extLst>
          </p:cNvPr>
          <p:cNvSpPr txBox="1">
            <a:spLocks/>
          </p:cNvSpPr>
          <p:nvPr/>
        </p:nvSpPr>
        <p:spPr>
          <a:xfrm>
            <a:off x="1000769" y="2116432"/>
            <a:ext cx="7919545" cy="204951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PT" sz="38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345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65342" y="-208215"/>
            <a:ext cx="10515600" cy="14244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2000"/>
          </a:p>
        </p:txBody>
      </p:sp>
      <p:sp>
        <p:nvSpPr>
          <p:cNvPr id="6" name="Rectangle 5"/>
          <p:cNvSpPr/>
          <p:nvPr/>
        </p:nvSpPr>
        <p:spPr bwMode="gray">
          <a:xfrm>
            <a:off x="462831" y="1108296"/>
            <a:ext cx="7161022" cy="1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PT" sz="1600" b="1">
              <a:solidFill>
                <a:schemeClr val="bg1"/>
              </a:solidFill>
            </a:endParaRPr>
          </a:p>
        </p:txBody>
      </p:sp>
      <p:sp>
        <p:nvSpPr>
          <p:cNvPr id="7" name="Text Placeholder 9"/>
          <p:cNvSpPr txBox="1">
            <a:spLocks/>
          </p:cNvSpPr>
          <p:nvPr/>
        </p:nvSpPr>
        <p:spPr>
          <a:xfrm>
            <a:off x="469900" y="736688"/>
            <a:ext cx="11252200" cy="479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Mambu</a:t>
            </a:r>
          </a:p>
        </p:txBody>
      </p:sp>
      <p:sp>
        <p:nvSpPr>
          <p:cNvPr id="8" name="Title 14"/>
          <p:cNvSpPr txBox="1">
            <a:spLocks/>
          </p:cNvSpPr>
          <p:nvPr/>
        </p:nvSpPr>
        <p:spPr bwMode="gray"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IV. </a:t>
            </a:r>
            <a:r>
              <a:rPr lang="pt-PT" dirty="0" err="1">
                <a:solidFill>
                  <a:srgbClr val="000000"/>
                </a:solidFill>
                <a:latin typeface="Roboto" panose="02000000000000000000" pitchFamily="2" charset="0"/>
              </a:rPr>
              <a:t>T</a:t>
            </a:r>
            <a:r>
              <a:rPr lang="pt-PT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echnical</a:t>
            </a:r>
            <a:r>
              <a:rPr lang="pt-PT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pt-PT" dirty="0" err="1">
                <a:solidFill>
                  <a:srgbClr val="000000"/>
                </a:solidFill>
                <a:latin typeface="Roboto" panose="02000000000000000000" pitchFamily="2" charset="0"/>
              </a:rPr>
              <a:t>W</a:t>
            </a:r>
            <a:r>
              <a:rPr lang="pt-PT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ebinars</a:t>
            </a:r>
            <a:r>
              <a:rPr lang="pt-PT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and </a:t>
            </a:r>
            <a:r>
              <a:rPr lang="pt-PT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Videos</a:t>
            </a:r>
            <a:endParaRPr lang="pt-PT" dirty="0"/>
          </a:p>
        </p:txBody>
      </p:sp>
      <p:sp>
        <p:nvSpPr>
          <p:cNvPr id="32" name="Content Placeholder 1">
            <a:extLst>
              <a:ext uri="{FF2B5EF4-FFF2-40B4-BE49-F238E27FC236}">
                <a16:creationId xmlns:a16="http://schemas.microsoft.com/office/drawing/2014/main" id="{E15A639F-D54D-43B3-8D02-2EC8FE7D7B20}"/>
              </a:ext>
            </a:extLst>
          </p:cNvPr>
          <p:cNvSpPr txBox="1">
            <a:spLocks/>
          </p:cNvSpPr>
          <p:nvPr/>
        </p:nvSpPr>
        <p:spPr>
          <a:xfrm>
            <a:off x="500400" y="1497599"/>
            <a:ext cx="11188700" cy="40584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1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e recommend viewing the webinars and the videos:</a:t>
            </a:r>
          </a:p>
          <a:p>
            <a:r>
              <a:rPr lang="en-US" b="1" dirty="0"/>
              <a:t>Webinars:</a:t>
            </a:r>
          </a:p>
          <a:p>
            <a:pPr marL="347850" lvl="2" indent="-171450"/>
            <a:r>
              <a:rPr lang="en-US" dirty="0"/>
              <a:t>Technical Webinar - Introduction to APIs, APPs and Webhooks MPO Webinar;</a:t>
            </a:r>
          </a:p>
          <a:p>
            <a:pPr marL="347850" lvl="2" indent="-171450"/>
            <a:r>
              <a:rPr lang="en-US" dirty="0"/>
              <a:t>MPO Webinar.</a:t>
            </a:r>
          </a:p>
          <a:p>
            <a:pPr lvl="2" indent="0">
              <a:buNone/>
            </a:pPr>
            <a:r>
              <a:rPr lang="en-US" dirty="0"/>
              <a:t>Link to Webinars: Link to </a:t>
            </a:r>
            <a:r>
              <a:rPr lang="en-US" dirty="0" err="1"/>
              <a:t>acess</a:t>
            </a:r>
            <a:r>
              <a:rPr lang="en-US" dirty="0"/>
              <a:t> the videos: https://resources.deloitte.com/:f:/r/sites/MambuCoE/Shared%20Documents/General/02.Mambu%20Video%20Training?csf=1&amp;web=1&amp;e=dQPjA7</a:t>
            </a:r>
          </a:p>
          <a:p>
            <a:pPr marL="347850" lvl="2" indent="-171450"/>
            <a:endParaRPr lang="en-US" dirty="0"/>
          </a:p>
          <a:p>
            <a:pPr marL="171450" lvl="1" indent="-171450"/>
            <a:r>
              <a:rPr lang="en-US" dirty="0"/>
              <a:t>Video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b="0" dirty="0"/>
              <a:t>2020-01-16 09.13 ABC Tech Training Session 1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b="0" dirty="0"/>
              <a:t>2020-01-16 13.07 ABC Tech Training Session 2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b="0" dirty="0"/>
              <a:t>2020-12-14 14.05 Technical Webinar - Introduction to APIs, APPs and Webhook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b="0" dirty="0"/>
              <a:t>2020-12-18 12.05 MPO webinar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b="0" dirty="0"/>
              <a:t>Mambu Overview Session-20210715_170551-Meeting Recording</a:t>
            </a:r>
          </a:p>
          <a:p>
            <a:pPr lvl="1"/>
            <a:r>
              <a:rPr lang="en-US" b="0" dirty="0"/>
              <a:t>Link to Videos: https://resources.deloitte.com/:f:/r/sites/MambuTrainning/Shared%20Documents/General/Trainning%20sessions?csf=1&amp;web=1&amp;e=vvX19J</a:t>
            </a:r>
          </a:p>
          <a:p>
            <a:pPr marL="171450" lvl="1" indent="-171450"/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829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ame 1">
            <a:extLst>
              <a:ext uri="{FF2B5EF4-FFF2-40B4-BE49-F238E27FC236}">
                <a16:creationId xmlns:a16="http://schemas.microsoft.com/office/drawing/2014/main" id="{D9E6F858-2A08-49F6-B75B-6093637E0C72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frame">
            <a:avLst>
              <a:gd name="adj1" fmla="val 435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050C4E-FEBB-4341-9B08-B308CD0CA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099" y="6270522"/>
            <a:ext cx="1019302" cy="346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816698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252FBB7ED8BA4BAFEC7AD83ADFCCDE" ma:contentTypeVersion="7" ma:contentTypeDescription="Create a new document." ma:contentTypeScope="" ma:versionID="73a41095289836d3a91b239d2d6f17d1">
  <xsd:schema xmlns:xsd="http://www.w3.org/2001/XMLSchema" xmlns:xs="http://www.w3.org/2001/XMLSchema" xmlns:p="http://schemas.microsoft.com/office/2006/metadata/properties" xmlns:ns2="870b76e1-d0c9-4b7c-879e-0e146b851ed5" xmlns:ns3="633efcde-3268-4238-8458-b1d144ab9000" targetNamespace="http://schemas.microsoft.com/office/2006/metadata/properties" ma:root="true" ma:fieldsID="9b44594cd2278b44ae4d66133f361eb6" ns2:_="" ns3:_="">
    <xsd:import namespace="870b76e1-d0c9-4b7c-879e-0e146b851ed5"/>
    <xsd:import namespace="633efcde-3268-4238-8458-b1d144ab90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b76e1-d0c9-4b7c-879e-0e146b851e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efcde-3268-4238-8458-b1d144ab900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9EB32D-DA6A-4793-9D5C-342FBD5292F8}"/>
</file>

<file path=customXml/itemProps2.xml><?xml version="1.0" encoding="utf-8"?>
<ds:datastoreItem xmlns:ds="http://schemas.openxmlformats.org/officeDocument/2006/customXml" ds:itemID="{B6A7D86D-DCD7-4784-ABEE-5FB142EBDAD8}"/>
</file>

<file path=customXml/itemProps3.xml><?xml version="1.0" encoding="utf-8"?>
<ds:datastoreItem xmlns:ds="http://schemas.openxmlformats.org/officeDocument/2006/customXml" ds:itemID="{B6F3122F-C653-42F6-B8E5-0F0CC8B20220}"/>
</file>

<file path=docProps/app.xml><?xml version="1.0" encoding="utf-8"?>
<Properties xmlns="http://schemas.openxmlformats.org/officeDocument/2006/extended-properties" xmlns:vt="http://schemas.openxmlformats.org/officeDocument/2006/docPropsVTypes">
  <TotalTime>13867</TotalTime>
  <Words>174</Words>
  <Application>Microsoft Office PowerPoint</Application>
  <PresentationFormat>Widescreen</PresentationFormat>
  <Paragraphs>20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Roboto</vt:lpstr>
      <vt:lpstr>Roboto Light</vt:lpstr>
      <vt:lpstr>Roboto Medium</vt:lpstr>
      <vt:lpstr>Verdana</vt:lpstr>
      <vt:lpstr>Wingdings 2</vt:lpstr>
      <vt:lpstr>1_Simple Light</vt:lpstr>
      <vt:lpstr>Deloitte_US_Letter_Print Theme</vt:lpstr>
      <vt:lpstr>think-cell Slide</vt:lpstr>
      <vt:lpstr>Mambu Training Manual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: Mambu Accreditation</dc:title>
  <dc:creator>Nascimento, Marisa Faria</dc:creator>
  <cp:lastModifiedBy>Nascimento, Marisa Faria</cp:lastModifiedBy>
  <cp:revision>273</cp:revision>
  <dcterms:created xsi:type="dcterms:W3CDTF">2022-03-02T11:26:11Z</dcterms:created>
  <dcterms:modified xsi:type="dcterms:W3CDTF">2022-03-30T00:3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3-02T11:26:11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8954553-e417-43eb-929a-1d7f76006101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AA252FBB7ED8BA4BAFEC7AD83ADFCCDE</vt:lpwstr>
  </property>
</Properties>
</file>